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2.xml" ContentType="application/vnd.openxmlformats-officedocument.them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53.xml" ContentType="application/vnd.openxmlformats-officedocument.presentationml.tags+xml"/>
  <Override PartName="/ppt/notesSlides/notesSlide1.xml" ContentType="application/vnd.openxmlformats-officedocument.presentationml.notesSlide+xml"/>
  <Override PartName="/ppt/tags/tag54.xml" ContentType="application/vnd.openxmlformats-officedocument.presentationml.tags+xml"/>
  <Override PartName="/ppt/notesSlides/notesSlide2.xml" ContentType="application/vnd.openxmlformats-officedocument.presentationml.notesSlide+xml"/>
  <Override PartName="/ppt/tags/tag55.xml" ContentType="application/vnd.openxmlformats-officedocument.presentationml.tags+xml"/>
  <Override PartName="/ppt/notesSlides/notesSlide3.xml" ContentType="application/vnd.openxmlformats-officedocument.presentationml.notesSlide+xml"/>
  <Override PartName="/ppt/tags/tag56.xml" ContentType="application/vnd.openxmlformats-officedocument.presentationml.tags+xml"/>
  <Override PartName="/ppt/notesSlides/notesSlide4.xml" ContentType="application/vnd.openxmlformats-officedocument.presentationml.notesSlide+xml"/>
  <Override PartName="/ppt/tags/tag57.xml" ContentType="application/vnd.openxmlformats-officedocument.presentationml.tags+xml"/>
  <Override PartName="/ppt/notesSlides/notesSlide5.xml" ContentType="application/vnd.openxmlformats-officedocument.presentationml.notesSlide+xml"/>
  <Override PartName="/ppt/tags/tag58.xml" ContentType="application/vnd.openxmlformats-officedocument.presentationml.tags+xml"/>
  <Override PartName="/ppt/notesSlides/notesSlide6.xml" ContentType="application/vnd.openxmlformats-officedocument.presentationml.notesSlide+xml"/>
  <Override PartName="/ppt/tags/tag59.xml" ContentType="application/vnd.openxmlformats-officedocument.presentationml.tags+xml"/>
  <Override PartName="/ppt/notesSlides/notesSlide7.xml" ContentType="application/vnd.openxmlformats-officedocument.presentationml.notesSlide+xml"/>
  <Override PartName="/ppt/tags/tag60.xml" ContentType="application/vnd.openxmlformats-officedocument.presentationml.tags+xml"/>
  <Override PartName="/ppt/notesSlides/notesSlide8.xml" ContentType="application/vnd.openxmlformats-officedocument.presentationml.notesSlide+xml"/>
  <Override PartName="/ppt/tags/tag61.xml" ContentType="application/vnd.openxmlformats-officedocument.presentationml.tags+xml"/>
  <Override PartName="/ppt/notesSlides/notesSlide9.xml" ContentType="application/vnd.openxmlformats-officedocument.presentationml.notesSlide+xml"/>
  <Override PartName="/ppt/comments/modernComment_7FFFE595_45A87F47.xml" ContentType="application/vnd.ms-powerpoint.comments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55" r:id="rId5"/>
    <p:sldMasterId id="2147483660" r:id="rId6"/>
  </p:sldMasterIdLst>
  <p:notesMasterIdLst>
    <p:notesMasterId r:id="rId18"/>
  </p:notesMasterIdLst>
  <p:handoutMasterIdLst>
    <p:handoutMasterId r:id="rId19"/>
  </p:handoutMasterIdLst>
  <p:sldIdLst>
    <p:sldId id="2147476875" r:id="rId7"/>
    <p:sldId id="2147476878" r:id="rId8"/>
    <p:sldId id="2147476876" r:id="rId9"/>
    <p:sldId id="2147476877" r:id="rId10"/>
    <p:sldId id="2147476879" r:id="rId11"/>
    <p:sldId id="2147476884" r:id="rId12"/>
    <p:sldId id="2147476756" r:id="rId13"/>
    <p:sldId id="2147476882" r:id="rId14"/>
    <p:sldId id="2147476883" r:id="rId15"/>
    <p:sldId id="2147476885" r:id="rId16"/>
    <p:sldId id="2147476886" r:id="rId17"/>
  </p:sldIdLst>
  <p:sldSz cx="9144000" cy="5143500" type="screen16x9"/>
  <p:notesSz cx="9926638" cy="6858000"/>
  <p:custDataLst>
    <p:tags r:id="rId20"/>
  </p:custDataLst>
  <p:defaultTextStyle>
    <a:defPPr>
      <a:defRPr lang="sv-SE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D9CBB008-FBF9-ECF8-4C65-B40A3BC691B5}" name="Valerian Watson" initials="VW" userId="S::valerian.watson@e-vc.org::af86ee41-7b93-4092-97ae-8b4bff961dfe" providerId="AD"/>
  <p188:author id="{4E9CEF0F-E166-4F06-D1C0-12F0ECFF4313}" name="Schuth-Krohn Franziska (SB-GB)" initials="S(" userId="S::fschuth@eur.corp.vattenfall.com::d62b1d70-60b4-4667-a62a-2db8e9a29a24" providerId="AD"/>
  <p188:author id="{01F4022F-CC64-65EE-640A-C95F7D18AE83}" name="Haas Cornelia (FSR)" initials="HC(" userId="S::chaas@eur.corp.vattenfall.com::75113463-e95f-4e50-b6a2-54ea0eda84de" providerId="AD"/>
  <p188:author id="{BE96A534-AF8B-C742-7162-D029496A41F8}" name="Hendrik Schlüter" initials="HS" userId="S::hendrik.schlueter@e-vc.org::a2dc6c7a-178f-4ef6-85ef-09f1d678cc13" providerId="AD"/>
  <p188:author id="{DBD3F644-8A5A-B43A-575E-77D6005B94D4}" name="Lindberg Fanny (SB-C)" initials="FL" userId="S::abj34@eur.corp.vattenfall.com::2cc81def-6fb2-4969-a6d9-1234d2174d63" providerId="AD"/>
  <p188:author id="{F76B3456-D938-1432-AA7A-32CDC89C1682}" name="Odenwald Peter (MC)" initials="OP(" userId="S::bat69@eur.corp.vattenfall.com::ed31971d-3c64-4ebd-b483-e9f6ddfc41ab" providerId="AD"/>
  <p188:author id="{E6819C7B-0DF9-6BCF-6992-7FA340B0A0B0}" name="Sperr Tobias (MA-P)" initials="ST(P" userId="S::tsperr@eur.corp.vattenfall.com::4c0adc7f-a625-41ab-b4de-c89e56536378" providerId="AD"/>
  <p188:author id="{D3CB0485-5372-A801-D651-AA355CD6FD94}" name="Hagmann Fabian (SB)" initials="H(" userId="S::fhagmann@eur.corp.vattenfall.com::1cf30150-3534-40fd-b30e-e95ec6bb893f" providerId="AD"/>
  <p188:author id="{C1A7E1C8-376D-E6A0-F2EA-B0664A41DBA2}" name="Jochen Scheuer" initials="JS" userId="S::jochen.scheuer@e-vc.org::2d0a35ab-8b54-48bb-972c-ba57df95599c" providerId="AD"/>
  <p188:author id="{189461D4-94DF-2432-0F93-4D9B1E13117D}" name="Christian Glöckner" initials="CG" userId="S::christian.gloeckner@e-vc.org::c02c489b-af4b-4156-b75b-dc5705274f8b" providerId="AD"/>
  <p188:author id="{8DD95BD5-B6DE-2C8A-FD92-C7DB56AC8397}" name="de Almeida Marcelino Maria (SC-E)" initials="Md" userId="S::cbq26@eur.corp.vattenfall.com::10d28dc8-9762-4555-b578-05f9e33c27ed" providerId="AD"/>
  <p188:author id="{A45C55DB-2C7F-E379-5C32-17C32484D816}" name="Christian Glöckner" initials="CG" userId="S::christian.gloeckner_e-vc.org#ext#@vattenfall.onmicrosoft.com::1da9868f-9d4c-4318-8731-e16ca28306a3" providerId="AD"/>
  <p188:author id="{F513B3F9-7A5A-5188-BF4F-4F17F28738A0}" name="Memelink Joris (SB-CP)" initials="JM" userId="S::chg49@eur.corp.vattenfall.com::f3d82e2d-d204-480e-913d-5970abeae167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071B5"/>
    <a:srgbClr val="FFFBE5"/>
    <a:srgbClr val="EBF9F2"/>
    <a:srgbClr val="FFF3FF"/>
    <a:srgbClr val="FFCCFF"/>
    <a:srgbClr val="9B62C3"/>
    <a:srgbClr val="D1266B"/>
    <a:srgbClr val="FF9F89"/>
    <a:srgbClr val="FA8EBC"/>
    <a:srgbClr val="FFDA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C2FFA5D-87B4-456A-9821-1D502468CF0F}" styleName="Format med tema 1 - dekorfärg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5C22544A-7EE6-4342-B048-85BDC9FD1C3A}" styleName="Mellanmörkt format 2 - Dekorfär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>
        <p:scale>
          <a:sx n="80" d="100"/>
          <a:sy n="80" d="100"/>
        </p:scale>
        <p:origin x="880" y="41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notesMaster" Target="notesMasters/notesMaster1.xml"/><Relationship Id="rId26" Type="http://schemas.microsoft.com/office/2018/10/relationships/authors" Target="authors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5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9.xml"/><Relationship Id="rId23" Type="http://schemas.openxmlformats.org/officeDocument/2006/relationships/theme" Target="theme/theme1.xml"/><Relationship Id="rId10" Type="http://schemas.openxmlformats.org/officeDocument/2006/relationships/slide" Target="slides/slide4.xml"/><Relationship Id="rId19" Type="http://schemas.openxmlformats.org/officeDocument/2006/relationships/handoutMaster" Target="handoutMasters/handoutMaster1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and Niels van 't (SB-MCE)" userId="S::vantlandn@eur.corp.vattenfall.com::f0c2945e-1eb8-4efe-a6b1-f7d146834ea4" providerId="AD" clId="Web-{3024FE56-5D80-E0E5-A149-E084DAF7C530}"/>
    <pc:docChg chg="addSld modSld">
      <pc:chgData name="Land Niels van 't (SB-MCE)" userId="S::vantlandn@eur.corp.vattenfall.com::f0c2945e-1eb8-4efe-a6b1-f7d146834ea4" providerId="AD" clId="Web-{3024FE56-5D80-E0E5-A149-E084DAF7C530}" dt="2025-09-01T09:54:18.185" v="156"/>
      <pc:docMkLst>
        <pc:docMk/>
      </pc:docMkLst>
      <pc:sldChg chg="modSp">
        <pc:chgData name="Land Niels van 't (SB-MCE)" userId="S::vantlandn@eur.corp.vattenfall.com::f0c2945e-1eb8-4efe-a6b1-f7d146834ea4" providerId="AD" clId="Web-{3024FE56-5D80-E0E5-A149-E084DAF7C530}" dt="2025-09-01T09:54:18.185" v="156"/>
        <pc:sldMkLst>
          <pc:docMk/>
          <pc:sldMk cId="2279987349" sldId="2147476756"/>
        </pc:sldMkLst>
        <pc:graphicFrameChg chg="mod modGraphic">
          <ac:chgData name="Land Niels van 't (SB-MCE)" userId="S::vantlandn@eur.corp.vattenfall.com::f0c2945e-1eb8-4efe-a6b1-f7d146834ea4" providerId="AD" clId="Web-{3024FE56-5D80-E0E5-A149-E084DAF7C530}" dt="2025-09-01T09:54:18.185" v="156"/>
          <ac:graphicFrameMkLst>
            <pc:docMk/>
            <pc:sldMk cId="2279987349" sldId="2147476756"/>
            <ac:graphicFrameMk id="3" creationId="{18CE1D20-A49A-537E-172C-783679449748}"/>
          </ac:graphicFrameMkLst>
        </pc:graphicFrameChg>
      </pc:sldChg>
      <pc:sldChg chg="addSp delSp modSp new">
        <pc:chgData name="Land Niels van 't (SB-MCE)" userId="S::vantlandn@eur.corp.vattenfall.com::f0c2945e-1eb8-4efe-a6b1-f7d146834ea4" providerId="AD" clId="Web-{3024FE56-5D80-E0E5-A149-E084DAF7C530}" dt="2025-09-01T09:48:00.801" v="32" actId="20577"/>
        <pc:sldMkLst>
          <pc:docMk/>
          <pc:sldMk cId="3234916257" sldId="2147476886"/>
        </pc:sldMkLst>
        <pc:spChg chg="del">
          <ac:chgData name="Land Niels van 't (SB-MCE)" userId="S::vantlandn@eur.corp.vattenfall.com::f0c2945e-1eb8-4efe-a6b1-f7d146834ea4" providerId="AD" clId="Web-{3024FE56-5D80-E0E5-A149-E084DAF7C530}" dt="2025-09-01T09:45:22.876" v="5"/>
          <ac:spMkLst>
            <pc:docMk/>
            <pc:sldMk cId="3234916257" sldId="2147476886"/>
            <ac:spMk id="2" creationId="{9305AD0B-3BAF-9484-F670-11A5887C9C30}"/>
          </ac:spMkLst>
        </pc:spChg>
        <pc:spChg chg="del">
          <ac:chgData name="Land Niels van 't (SB-MCE)" userId="S::vantlandn@eur.corp.vattenfall.com::f0c2945e-1eb8-4efe-a6b1-f7d146834ea4" providerId="AD" clId="Web-{3024FE56-5D80-E0E5-A149-E084DAF7C530}" dt="2025-09-01T09:45:22.876" v="4"/>
          <ac:spMkLst>
            <pc:docMk/>
            <pc:sldMk cId="3234916257" sldId="2147476886"/>
            <ac:spMk id="3" creationId="{E408F1C2-B093-DBD8-77C7-F67B7BFB7E94}"/>
          </ac:spMkLst>
        </pc:spChg>
        <pc:spChg chg="del">
          <ac:chgData name="Land Niels van 't (SB-MCE)" userId="S::vantlandn@eur.corp.vattenfall.com::f0c2945e-1eb8-4efe-a6b1-f7d146834ea4" providerId="AD" clId="Web-{3024FE56-5D80-E0E5-A149-E084DAF7C530}" dt="2025-09-01T09:45:22.876" v="3"/>
          <ac:spMkLst>
            <pc:docMk/>
            <pc:sldMk cId="3234916257" sldId="2147476886"/>
            <ac:spMk id="4" creationId="{C47A0B54-E0DB-6396-0B16-949885CE0485}"/>
          </ac:spMkLst>
        </pc:spChg>
        <pc:spChg chg="del">
          <ac:chgData name="Land Niels van 't (SB-MCE)" userId="S::vantlandn@eur.corp.vattenfall.com::f0c2945e-1eb8-4efe-a6b1-f7d146834ea4" providerId="AD" clId="Web-{3024FE56-5D80-E0E5-A149-E084DAF7C530}" dt="2025-09-01T09:45:22.876" v="2"/>
          <ac:spMkLst>
            <pc:docMk/>
            <pc:sldMk cId="3234916257" sldId="2147476886"/>
            <ac:spMk id="5" creationId="{67F7FB9C-EC02-F07A-94E1-A8AD98D186AF}"/>
          </ac:spMkLst>
        </pc:spChg>
        <pc:spChg chg="del">
          <ac:chgData name="Land Niels van 't (SB-MCE)" userId="S::vantlandn@eur.corp.vattenfall.com::f0c2945e-1eb8-4efe-a6b1-f7d146834ea4" providerId="AD" clId="Web-{3024FE56-5D80-E0E5-A149-E084DAF7C530}" dt="2025-09-01T09:45:22.876" v="1"/>
          <ac:spMkLst>
            <pc:docMk/>
            <pc:sldMk cId="3234916257" sldId="2147476886"/>
            <ac:spMk id="6" creationId="{5F473C4A-2161-4FC9-E03A-00C117ECC45B}"/>
          </ac:spMkLst>
        </pc:spChg>
        <pc:spChg chg="add del mod">
          <ac:chgData name="Land Niels van 't (SB-MCE)" userId="S::vantlandn@eur.corp.vattenfall.com::f0c2945e-1eb8-4efe-a6b1-f7d146834ea4" providerId="AD" clId="Web-{3024FE56-5D80-E0E5-A149-E084DAF7C530}" dt="2025-09-01T09:45:30.876" v="9"/>
          <ac:spMkLst>
            <pc:docMk/>
            <pc:sldMk cId="3234916257" sldId="2147476886"/>
            <ac:spMk id="7" creationId="{5548AADB-9D86-7890-B8AF-6E442B93EB9A}"/>
          </ac:spMkLst>
        </pc:spChg>
        <pc:spChg chg="add mod">
          <ac:chgData name="Land Niels van 't (SB-MCE)" userId="S::vantlandn@eur.corp.vattenfall.com::f0c2945e-1eb8-4efe-a6b1-f7d146834ea4" providerId="AD" clId="Web-{3024FE56-5D80-E0E5-A149-E084DAF7C530}" dt="2025-09-01T09:48:00.801" v="32" actId="20577"/>
          <ac:spMkLst>
            <pc:docMk/>
            <pc:sldMk cId="3234916257" sldId="2147476886"/>
            <ac:spMk id="8" creationId="{08627834-80A5-8AD0-DB01-277254FE763A}"/>
          </ac:spMkLst>
        </pc:spChg>
      </pc:sldChg>
    </pc:docChg>
  </pc:docChgLst>
  <pc:docChgLst>
    <pc:chgData name="Nordström Henrik (SB-R)" userId="S::cip46@eur.corp.vattenfall.com::b850a169-ce85-49ea-b54b-ed028f9451d6" providerId="AD" clId="Web-{B4A64458-63F5-80C7-AFA8-592A30C055C7}"/>
    <pc:docChg chg="modSld">
      <pc:chgData name="Nordström Henrik (SB-R)" userId="S::cip46@eur.corp.vattenfall.com::b850a169-ce85-49ea-b54b-ed028f9451d6" providerId="AD" clId="Web-{B4A64458-63F5-80C7-AFA8-592A30C055C7}" dt="2025-08-29T12:07:42.961" v="271" actId="20577"/>
      <pc:docMkLst>
        <pc:docMk/>
      </pc:docMkLst>
      <pc:sldChg chg="modSp">
        <pc:chgData name="Nordström Henrik (SB-R)" userId="S::cip46@eur.corp.vattenfall.com::b850a169-ce85-49ea-b54b-ed028f9451d6" providerId="AD" clId="Web-{B4A64458-63F5-80C7-AFA8-592A30C055C7}" dt="2025-08-29T12:07:42.961" v="271" actId="20577"/>
        <pc:sldMkLst>
          <pc:docMk/>
          <pc:sldMk cId="1168670535" sldId="2147476885"/>
        </pc:sldMkLst>
        <pc:spChg chg="mod">
          <ac:chgData name="Nordström Henrik (SB-R)" userId="S::cip46@eur.corp.vattenfall.com::b850a169-ce85-49ea-b54b-ed028f9451d6" providerId="AD" clId="Web-{B4A64458-63F5-80C7-AFA8-592A30C055C7}" dt="2025-08-29T12:07:42.961" v="271" actId="20577"/>
          <ac:spMkLst>
            <pc:docMk/>
            <pc:sldMk cId="1168670535" sldId="2147476885"/>
            <ac:spMk id="9" creationId="{F6CF7E5C-807A-EBD8-52A0-D923C9C8D256}"/>
          </ac:spMkLst>
        </pc:spChg>
      </pc:sldChg>
    </pc:docChg>
  </pc:docChgLst>
</pc:chgInfo>
</file>

<file path=ppt/comments/modernComment_7FFFE595_45A87F47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361AAEB8-2A1B-4925-B9FA-508B495B6515}" authorId="{DBD3F644-8A5A-B43A-575E-77D6005B94D4}" created="2025-08-29T12:17:27.959">
    <pc:sldMkLst xmlns:pc="http://schemas.microsoft.com/office/powerpoint/2013/main/command">
      <pc:docMk/>
      <pc:sldMk cId="1168670535" sldId="2147476885"/>
    </pc:sldMkLst>
    <p188:txBody>
      <a:bodyPr/>
      <a:lstStyle/>
      <a:p>
        <a:r>
          <a:rPr lang="sv-SE"/>
          <a:t>[@Land Niels van 't (SB-MCE)]  FYI notes from the meeting with the Swedish team. Henrik will work with the team in the coming week to confirm numbers.</a:t>
        </a:r>
      </a:p>
    </p188:txBody>
  </p188:cm>
</p188:cmLst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5842580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4301543" cy="344145"/>
          </a:xfrm>
          <a:prstGeom prst="rect">
            <a:avLst/>
          </a:prstGeom>
        </p:spPr>
        <p:txBody>
          <a:bodyPr vert="horz" lIns="92044" tIns="46021" rIns="92044" bIns="46021" rtlCol="0"/>
          <a:lstStyle>
            <a:lvl1pPr algn="l" rtl="0">
              <a:defRPr sz="1200"/>
            </a:lvl1pPr>
          </a:lstStyle>
          <a:p>
            <a:endParaRPr lang="en-US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5622801" y="1"/>
            <a:ext cx="4301543" cy="344145"/>
          </a:xfrm>
          <a:prstGeom prst="rect">
            <a:avLst/>
          </a:prstGeom>
        </p:spPr>
        <p:txBody>
          <a:bodyPr vert="horz" lIns="92044" tIns="46021" rIns="92044" bIns="46021" rtlCol="0"/>
          <a:lstStyle>
            <a:lvl1pPr algn="r" rtl="0">
              <a:defRPr sz="1200"/>
            </a:lvl1pPr>
          </a:lstStyle>
          <a:p>
            <a:fld id="{7F25B33A-BC3C-2A4E-8516-966C62954547}" type="datetimeFigureOut">
              <a:rPr lang="en-US" smtClean="0"/>
              <a:pPr/>
              <a:t>8/29/2025</a:t>
            </a:fld>
            <a:endParaRPr lang="en-US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2908300" y="858838"/>
            <a:ext cx="4110038" cy="2312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044" tIns="46021" rIns="92044" bIns="46021" rtlCol="0" anchor="ctr"/>
          <a:lstStyle/>
          <a:p>
            <a:endParaRPr lang="en-GB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992665" y="3300941"/>
            <a:ext cx="7941310" cy="2700770"/>
          </a:xfrm>
          <a:prstGeom prst="rect">
            <a:avLst/>
          </a:prstGeom>
        </p:spPr>
        <p:txBody>
          <a:bodyPr vert="horz" lIns="92044" tIns="46021" rIns="92044" bIns="46021" rtlCol="0"/>
          <a:lstStyle/>
          <a:p>
            <a:pPr lvl="0"/>
            <a:r>
              <a:rPr lang="en-US"/>
              <a:t>Klicka här för att ändra format på bakgrundstexten</a:t>
            </a:r>
          </a:p>
          <a:p>
            <a:pPr lvl="1"/>
            <a:r>
              <a:rPr lang="en-US"/>
              <a:t>Nivå två</a:t>
            </a:r>
          </a:p>
          <a:p>
            <a:pPr lvl="2"/>
            <a:r>
              <a:rPr lang="en-US"/>
              <a:t>Nivå tre</a:t>
            </a:r>
          </a:p>
          <a:p>
            <a:pPr lvl="3"/>
            <a:r>
              <a:rPr lang="en-US"/>
              <a:t>Nivå fyra</a:t>
            </a:r>
          </a:p>
          <a:p>
            <a:pPr lvl="4"/>
            <a:r>
              <a:rPr lang="en-US"/>
              <a:t>Nivå fem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2" y="6514952"/>
            <a:ext cx="4301543" cy="344145"/>
          </a:xfrm>
          <a:prstGeom prst="rect">
            <a:avLst/>
          </a:prstGeom>
        </p:spPr>
        <p:txBody>
          <a:bodyPr vert="horz" lIns="92044" tIns="46021" rIns="92044" bIns="46021" rtlCol="0" anchor="b"/>
          <a:lstStyle>
            <a:lvl1pPr algn="l" rtl="0">
              <a:defRPr sz="1200"/>
            </a:lvl1pPr>
          </a:lstStyle>
          <a:p>
            <a:endParaRPr lang="en-US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5622801" y="6514952"/>
            <a:ext cx="4301543" cy="344145"/>
          </a:xfrm>
          <a:prstGeom prst="rect">
            <a:avLst/>
          </a:prstGeom>
        </p:spPr>
        <p:txBody>
          <a:bodyPr vert="horz" lIns="92044" tIns="46021" rIns="92044" bIns="46021" rtlCol="0" anchor="b"/>
          <a:lstStyle>
            <a:lvl1pPr algn="r" rtl="0">
              <a:defRPr sz="1200"/>
            </a:lvl1pPr>
          </a:lstStyle>
          <a:p>
            <a:fld id="{4839FFBA-8E97-AD44-BFE3-4701FE7ED56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334367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696508-9128-A122-06BD-2B3BC442F05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5351B2E6-4CD1-1C38-91CF-37CDE8F25B2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270D02F1-40E6-A644-5F84-129BF8D7090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9E71C29-76C8-6E91-21C2-1C471CDC652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39FFBA-8E97-AD44-BFE3-4701FE7ED562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8779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2B8A77C-8DB8-8678-829F-1D7FF760458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19AA181B-7DB5-2003-49E4-FA607C220E2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C3A6F1FC-F5B5-F877-9373-B04D9D6CE95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30C265E-75F1-19C1-ADF7-72B5ED0D393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39FFBA-8E97-AD44-BFE3-4701FE7ED562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819929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2A7280B-878A-CFE8-1F76-BC036272B0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B23FD172-61BB-9497-84C3-217C3832FEB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12458756-497F-543D-F893-D964C521F43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A9E58A9-4AA9-E990-4FCD-9D023DE56FD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39FFBA-8E97-AD44-BFE3-4701FE7ED562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869847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4B4C8EA-022B-4EC4-EDB5-2B27BED471F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9B7A9629-EF5D-C3A0-77A3-A5F36EB59F3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A3FBF281-7A27-0045-2DF2-289F3C4BBE4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E09D3BC-18E0-4DB1-1BA4-DDF215C8F0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39FFBA-8E97-AD44-BFE3-4701FE7ED562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337796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564020B-BF1D-BD7B-E1E5-0D0B51DFA3F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CA3F21A7-FCD6-C447-3FFA-BBD846315D4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DBE07BBD-D219-9166-3E56-1F29855EB75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9981C88-9F8A-3390-D5C5-7A97AFC9DA0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39FFBA-8E97-AD44-BFE3-4701FE7ED562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63646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77A71A6-48F6-512F-A87D-444E0D7A3A4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29344A88-34FE-EFBC-E20B-A0523437D44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93802BC0-DC7F-98B7-2F43-305896E7789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740EDDF-DB36-2827-F121-A18A635F0AD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39FFBA-8E97-AD44-BFE3-4701FE7ED562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901515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39FFBA-8E97-AD44-BFE3-4701FE7ED562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922409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76E605C-7C4E-1C06-08CB-CE6C9D0D1A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3961E6D1-09AF-7E63-EFC7-DD60417F03C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2016FB62-CBE2-ADF6-0CE9-524EEF45827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CA13495-9225-EBBA-4AB9-751F8BC4B69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39FFBA-8E97-AD44-BFE3-4701FE7ED562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743595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2D13099-E2E8-D12A-8502-E54E4D5048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861C78EF-0F89-DB1D-8D08-A780C9E9CCC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7139D352-A2CA-0520-4D8B-C875C879356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5EFDCDA-974B-454C-9F3C-312CFABE657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39FFBA-8E97-AD44-BFE3-4701FE7ED562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18009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5" Type="http://schemas.openxmlformats.org/officeDocument/2006/relationships/image" Target="../media/image3.gif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5" Type="http://schemas.openxmlformats.org/officeDocument/2006/relationships/image" Target="../media/image3.gif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5" Type="http://schemas.openxmlformats.org/officeDocument/2006/relationships/image" Target="../media/image3.gif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5" Type="http://schemas.openxmlformats.org/officeDocument/2006/relationships/image" Target="../media/image3.gif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3.gif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7.xml"/><Relationship Id="rId5" Type="http://schemas.openxmlformats.org/officeDocument/2006/relationships/image" Target="../media/image3.gif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.xml"/><Relationship Id="rId5" Type="http://schemas.openxmlformats.org/officeDocument/2006/relationships/image" Target="../media/image3.gif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7" Type="http://schemas.openxmlformats.org/officeDocument/2006/relationships/image" Target="../media/image3.gi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0.xml"/><Relationship Id="rId5" Type="http://schemas.openxmlformats.org/officeDocument/2006/relationships/image" Target="../media/image3.gif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1.xml"/><Relationship Id="rId5" Type="http://schemas.openxmlformats.org/officeDocument/2006/relationships/image" Target="../media/image3.gif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2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3.xml"/><Relationship Id="rId5" Type="http://schemas.openxmlformats.org/officeDocument/2006/relationships/image" Target="../media/image3.gif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4.xml"/><Relationship Id="rId5" Type="http://schemas.openxmlformats.org/officeDocument/2006/relationships/image" Target="../media/image3.gif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5.xml"/><Relationship Id="rId5" Type="http://schemas.openxmlformats.org/officeDocument/2006/relationships/image" Target="../media/image3.gif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6.xml"/><Relationship Id="rId5" Type="http://schemas.openxmlformats.org/officeDocument/2006/relationships/image" Target="../media/image3.gif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7.xml"/><Relationship Id="rId5" Type="http://schemas.openxmlformats.org/officeDocument/2006/relationships/image" Target="../media/image3.gif"/><Relationship Id="rId4" Type="http://schemas.openxmlformats.org/officeDocument/2006/relationships/image" Target="../media/image1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8.xml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9.xml"/><Relationship Id="rId4" Type="http://schemas.openxmlformats.org/officeDocument/2006/relationships/image" Target="../media/image1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0.xml"/><Relationship Id="rId5" Type="http://schemas.openxmlformats.org/officeDocument/2006/relationships/image" Target="../media/image3.gif"/><Relationship Id="rId4" Type="http://schemas.openxmlformats.org/officeDocument/2006/relationships/image" Target="../media/image1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1.xml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2.xml"/><Relationship Id="rId5" Type="http://schemas.openxmlformats.org/officeDocument/2006/relationships/image" Target="../media/image3.gif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3.xml"/><Relationship Id="rId5" Type="http://schemas.openxmlformats.org/officeDocument/2006/relationships/image" Target="../media/image3.gif"/><Relationship Id="rId4" Type="http://schemas.openxmlformats.org/officeDocument/2006/relationships/image" Target="../media/image1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4.xml"/><Relationship Id="rId4" Type="http://schemas.openxmlformats.org/officeDocument/2006/relationships/image" Target="../media/image1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5.xml"/><Relationship Id="rId4" Type="http://schemas.openxmlformats.org/officeDocument/2006/relationships/image" Target="../media/image1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6.xml"/><Relationship Id="rId5" Type="http://schemas.openxmlformats.org/officeDocument/2006/relationships/image" Target="../media/image3.gif"/><Relationship Id="rId4" Type="http://schemas.openxmlformats.org/officeDocument/2006/relationships/image" Target="../media/image1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7.xml"/><Relationship Id="rId5" Type="http://schemas.openxmlformats.org/officeDocument/2006/relationships/image" Target="../media/image3.gif"/><Relationship Id="rId4" Type="http://schemas.openxmlformats.org/officeDocument/2006/relationships/image" Target="../media/image1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8.xml"/><Relationship Id="rId4" Type="http://schemas.openxmlformats.org/officeDocument/2006/relationships/image" Target="../media/image1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9.xml"/><Relationship Id="rId5" Type="http://schemas.openxmlformats.org/officeDocument/2006/relationships/image" Target="../media/image3.gif"/><Relationship Id="rId4" Type="http://schemas.openxmlformats.org/officeDocument/2006/relationships/image" Target="../media/image1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0.xml"/><Relationship Id="rId6" Type="http://schemas.openxmlformats.org/officeDocument/2006/relationships/image" Target="../media/image7.gif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1.xml"/><Relationship Id="rId6" Type="http://schemas.openxmlformats.org/officeDocument/2006/relationships/image" Target="../media/image7.gif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2.xml"/><Relationship Id="rId6" Type="http://schemas.openxmlformats.org/officeDocument/2006/relationships/image" Target="../media/image7.gif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7" Type="http://schemas.openxmlformats.org/officeDocument/2006/relationships/image" Target="../media/image5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6" Type="http://schemas.openxmlformats.org/officeDocument/2006/relationships/image" Target="../media/image4.png"/><Relationship Id="rId5" Type="http://schemas.openxmlformats.org/officeDocument/2006/relationships/image" Target="../media/image3.gif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6D332867-52C7-885F-8EF1-18A38379A2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795916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D332867-52C7-885F-8EF1-18A38379A2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7D34D5D-4B26-F2D6-ACF2-3C0D220118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F6D56EF-4BEA-E155-91A0-B28F962AB34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Mastertextformat bearbeiten</a:t>
            </a:r>
          </a:p>
          <a:p>
            <a:pPr lvl="1"/>
            <a:r>
              <a:rPr lang="en-US"/>
              <a:t>Zweite Ebene</a:t>
            </a:r>
          </a:p>
          <a:p>
            <a:pPr lvl="2"/>
            <a:r>
              <a:rPr lang="en-US"/>
              <a:t>Dritte Ebene</a:t>
            </a:r>
          </a:p>
          <a:p>
            <a:pPr lvl="3"/>
            <a:r>
              <a:rPr lang="en-US"/>
              <a:t>Vierte Ebene</a:t>
            </a:r>
          </a:p>
          <a:p>
            <a:pPr lvl="4"/>
            <a:r>
              <a:rPr lang="en-US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9D959F3-6236-BE18-6950-D8B457ED57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CB5D2091-16CE-4482-9CF9-CA04C8568B47}" type="datetime1">
              <a:rPr lang="en-US" smtClean="0"/>
              <a:pPr/>
              <a:t>8/29/2025</a:t>
            </a:fld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4C5625E-1F2B-9EDD-514A-A0C41A0E2F1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17CD396C-6A52-4D5A-BAE3-92A1CC3BBDE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7FB86836-3F36-9542-8E45-75AA426C522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Go to header/footer to change text 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549190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6BD2CAEF-6158-FCB0-3593-C122E2AE3A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4459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7" imgH="277" progId="TCLayout.ActiveDocument.1">
                  <p:embed/>
                </p:oleObj>
              </mc:Choice>
              <mc:Fallback>
                <p:oleObj name="think-cell Folie" r:id="rId3" imgW="277" imgH="277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6BD2CAEF-6158-FCB0-3593-C122E2AE3A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>
            <a:extLst>
              <a:ext uri="{FF2B5EF4-FFF2-40B4-BE49-F238E27FC236}">
                <a16:creationId xmlns:a16="http://schemas.microsoft.com/office/drawing/2014/main" id="{BFC9456A-AC97-4548-90B9-837374C5AA8F}"/>
              </a:ext>
            </a:extLst>
          </p:cNvPr>
          <p:cNvSpPr/>
          <p:nvPr userDrawn="1"/>
        </p:nvSpPr>
        <p:spPr>
          <a:xfrm>
            <a:off x="179388" y="158750"/>
            <a:ext cx="4321175" cy="468153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38A7CF33-452A-714F-A2F4-CE61781904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851" y="545325"/>
            <a:ext cx="4177035" cy="802463"/>
          </a:xfrm>
        </p:spPr>
        <p:txBody>
          <a:bodyPr vert="horz" rIns="216000"/>
          <a:lstStyle>
            <a:lvl1pPr rtl="0">
              <a:defRPr spc="-50" baseline="0"/>
            </a:lvl1pPr>
          </a:lstStyle>
          <a:p>
            <a:r>
              <a:rPr lang="en-US" noProof="0"/>
              <a:t>Click to add a headline of maximum two lines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C57FF860-80C4-F544-9349-277B28F447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3D30FE4E-E1F5-40F8-9223-53A7094FB315}" type="datetime1">
              <a:rPr lang="en-US" smtClean="0"/>
              <a:pPr/>
              <a:t>8/29/2025</a:t>
            </a:fld>
            <a:endParaRPr lang="en-US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61938E86-6CF5-9C42-AB2F-96E9B547A11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17CD396C-6A52-4D5A-BAE3-92A1CC3BBDE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Platshållare för text 15">
            <a:extLst>
              <a:ext uri="{FF2B5EF4-FFF2-40B4-BE49-F238E27FC236}">
                <a16:creationId xmlns:a16="http://schemas.microsoft.com/office/drawing/2014/main" id="{03424855-B277-8744-9C85-9975925B820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3850" y="276226"/>
            <a:ext cx="4177035" cy="276999"/>
          </a:xfrm>
        </p:spPr>
        <p:txBody>
          <a:bodyPr lIns="111600" rIns="216000" anchor="t"/>
          <a:lstStyle>
            <a:lvl1pPr marL="3175" indent="-3175" rtl="0">
              <a:buNone/>
              <a:tabLst/>
              <a:defRPr sz="12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add navigation/subheader</a:t>
            </a:r>
          </a:p>
        </p:txBody>
      </p:sp>
      <p:sp>
        <p:nvSpPr>
          <p:cNvPr id="15" name="Platshållare för bild 3">
            <a:extLst>
              <a:ext uri="{FF2B5EF4-FFF2-40B4-BE49-F238E27FC236}">
                <a16:creationId xmlns:a16="http://schemas.microsoft.com/office/drawing/2014/main" id="{F782635C-88D6-3E42-BB72-11F54CF9C37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643439" y="158750"/>
            <a:ext cx="4321174" cy="4681538"/>
          </a:xfrm>
          <a:blipFill>
            <a:blip r:embed="rId5"/>
            <a:tile tx="0" ty="0" sx="100000" sy="100000" flip="none" algn="tl"/>
          </a:blipFill>
        </p:spPr>
        <p:txBody>
          <a:bodyPr/>
          <a:lstStyle>
            <a:lvl1pPr algn="ctr" rtl="0">
              <a:buNone/>
              <a:defRPr sz="8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en-US" noProof="0"/>
              <a:t>Click on the icon to add an image</a:t>
            </a:r>
          </a:p>
        </p:txBody>
      </p:sp>
      <p:sp>
        <p:nvSpPr>
          <p:cNvPr id="14" name="Platshållare för text 7">
            <a:extLst>
              <a:ext uri="{FF2B5EF4-FFF2-40B4-BE49-F238E27FC236}">
                <a16:creationId xmlns:a16="http://schemas.microsoft.com/office/drawing/2014/main" id="{F6397471-EE5D-4845-BB05-47F7C699E3B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23849" y="1447200"/>
            <a:ext cx="4176713" cy="3250325"/>
          </a:xfrm>
        </p:spPr>
        <p:txBody>
          <a:bodyPr rIns="21600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Platshållare för sidfot 6">
            <a:extLst>
              <a:ext uri="{FF2B5EF4-FFF2-40B4-BE49-F238E27FC236}">
                <a16:creationId xmlns:a16="http://schemas.microsoft.com/office/drawing/2014/main" id="{6877E28E-D1BC-1C4D-A177-A9E75F247F1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84887" y="4901296"/>
            <a:ext cx="2879823" cy="1152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 rtl="0">
              <a:defRPr sz="600">
                <a:solidFill>
                  <a:srgbClr val="737373"/>
                </a:solidFill>
              </a:defRPr>
            </a:lvl1pPr>
          </a:lstStyle>
          <a:p>
            <a:r>
              <a:rPr lang="en-US"/>
              <a:t>Go to header/footer to change text 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91515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ext and Image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CB58CB4C-8B7A-5A36-21DE-E0C76DF6AA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70095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7" imgH="277" progId="TCLayout.ActiveDocument.1">
                  <p:embed/>
                </p:oleObj>
              </mc:Choice>
              <mc:Fallback>
                <p:oleObj name="think-cell Folie" r:id="rId3" imgW="277" imgH="277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CB58CB4C-8B7A-5A36-21DE-E0C76DF6AA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>
            <a:extLst>
              <a:ext uri="{FF2B5EF4-FFF2-40B4-BE49-F238E27FC236}">
                <a16:creationId xmlns:a16="http://schemas.microsoft.com/office/drawing/2014/main" id="{BFC9456A-AC97-4548-90B9-837374C5AA8F}"/>
              </a:ext>
            </a:extLst>
          </p:cNvPr>
          <p:cNvSpPr/>
          <p:nvPr userDrawn="1"/>
        </p:nvSpPr>
        <p:spPr>
          <a:xfrm>
            <a:off x="179388" y="158750"/>
            <a:ext cx="5761037" cy="468153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38A7CF33-452A-714F-A2F4-CE61781904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849" y="545325"/>
            <a:ext cx="5616575" cy="802463"/>
          </a:xfrm>
        </p:spPr>
        <p:txBody>
          <a:bodyPr vert="horz" rIns="216000"/>
          <a:lstStyle>
            <a:lvl1pPr rtl="0">
              <a:defRPr spc="-50" baseline="0"/>
            </a:lvl1pPr>
          </a:lstStyle>
          <a:p>
            <a:r>
              <a:rPr lang="en-US" noProof="0"/>
              <a:t>Click to add a headline of maximum two lines</a:t>
            </a:r>
            <a:br>
              <a:rPr lang="en-US" noProof="0"/>
            </a:br>
            <a:endParaRPr lang="en-US" noProof="0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C57FF860-80C4-F544-9349-277B28F447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64C26A10-E68B-4902-8314-9D784264CC0B}" type="datetime1">
              <a:rPr lang="en-US" smtClean="0"/>
              <a:pPr/>
              <a:t>8/29/2025</a:t>
            </a:fld>
            <a:endParaRPr lang="en-US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61938E86-6CF5-9C42-AB2F-96E9B547A11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17CD396C-6A52-4D5A-BAE3-92A1CC3BBDE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Platshållare för text 15">
            <a:extLst>
              <a:ext uri="{FF2B5EF4-FFF2-40B4-BE49-F238E27FC236}">
                <a16:creationId xmlns:a16="http://schemas.microsoft.com/office/drawing/2014/main" id="{03424855-B277-8744-9C85-9975925B820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3848" y="276226"/>
            <a:ext cx="5616575" cy="276999"/>
          </a:xfrm>
        </p:spPr>
        <p:txBody>
          <a:bodyPr lIns="111600" rIns="216000" anchor="t"/>
          <a:lstStyle>
            <a:lvl1pPr marL="3175" indent="-3175" rtl="0">
              <a:buNone/>
              <a:tabLst/>
              <a:defRPr sz="12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add navigation/subheader</a:t>
            </a:r>
          </a:p>
        </p:txBody>
      </p:sp>
      <p:sp>
        <p:nvSpPr>
          <p:cNvPr id="15" name="Platshållare för bild 3">
            <a:extLst>
              <a:ext uri="{FF2B5EF4-FFF2-40B4-BE49-F238E27FC236}">
                <a16:creationId xmlns:a16="http://schemas.microsoft.com/office/drawing/2014/main" id="{F782635C-88D6-3E42-BB72-11F54CF9C37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84887" y="158750"/>
            <a:ext cx="2879725" cy="4681538"/>
          </a:xfrm>
          <a:blipFill>
            <a:blip r:embed="rId5"/>
            <a:tile tx="0" ty="0" sx="100000" sy="100000" flip="none" algn="tl"/>
          </a:blipFill>
        </p:spPr>
        <p:txBody>
          <a:bodyPr/>
          <a:lstStyle>
            <a:lvl1pPr algn="ctr" rtl="0">
              <a:buNone/>
              <a:defRPr sz="8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en-US" noProof="0"/>
              <a:t>Click on the icon to add an image</a:t>
            </a:r>
          </a:p>
        </p:txBody>
      </p:sp>
      <p:sp>
        <p:nvSpPr>
          <p:cNvPr id="14" name="Platshållare för text 7">
            <a:extLst>
              <a:ext uri="{FF2B5EF4-FFF2-40B4-BE49-F238E27FC236}">
                <a16:creationId xmlns:a16="http://schemas.microsoft.com/office/drawing/2014/main" id="{F6397471-EE5D-4845-BB05-47F7C699E3B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23850" y="1445500"/>
            <a:ext cx="2736850" cy="3250325"/>
          </a:xfrm>
        </p:spPr>
        <p:txBody>
          <a:bodyPr rIns="21600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Platshållare för text 7">
            <a:extLst>
              <a:ext uri="{FF2B5EF4-FFF2-40B4-BE49-F238E27FC236}">
                <a16:creationId xmlns:a16="http://schemas.microsoft.com/office/drawing/2014/main" id="{C54E6412-F416-B54F-8039-31E518204B4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203575" y="1445500"/>
            <a:ext cx="2736850" cy="3250325"/>
          </a:xfrm>
        </p:spPr>
        <p:txBody>
          <a:bodyPr rIns="21600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Platshållare för sidfot 6">
            <a:extLst>
              <a:ext uri="{FF2B5EF4-FFF2-40B4-BE49-F238E27FC236}">
                <a16:creationId xmlns:a16="http://schemas.microsoft.com/office/drawing/2014/main" id="{069A7DAD-056B-3C43-ADEE-4DC11BE3247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84887" y="4901296"/>
            <a:ext cx="2879823" cy="1152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 rtl="0">
              <a:defRPr sz="600">
                <a:solidFill>
                  <a:srgbClr val="737373"/>
                </a:solidFill>
              </a:defRPr>
            </a:lvl1pPr>
          </a:lstStyle>
          <a:p>
            <a:r>
              <a:rPr lang="en-US"/>
              <a:t>Go to header/footer to change text 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721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able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009488A4-9D5E-AA4A-1CE5-D1FC57C176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51227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7" imgH="277" progId="TCLayout.ActiveDocument.1">
                  <p:embed/>
                </p:oleObj>
              </mc:Choice>
              <mc:Fallback>
                <p:oleObj name="think-cell Folie" r:id="rId3" imgW="277" imgH="277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009488A4-9D5E-AA4A-1CE5-D1FC57C176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>
            <a:extLst>
              <a:ext uri="{FF2B5EF4-FFF2-40B4-BE49-F238E27FC236}">
                <a16:creationId xmlns:a16="http://schemas.microsoft.com/office/drawing/2014/main" id="{BFC9456A-AC97-4548-90B9-837374C5AA8F}"/>
              </a:ext>
            </a:extLst>
          </p:cNvPr>
          <p:cNvSpPr/>
          <p:nvPr userDrawn="1"/>
        </p:nvSpPr>
        <p:spPr>
          <a:xfrm>
            <a:off x="179388" y="158750"/>
            <a:ext cx="4321175" cy="468153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38A7CF33-452A-714F-A2F4-CE61781904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851" y="545326"/>
            <a:ext cx="4176711" cy="737102"/>
          </a:xfrm>
        </p:spPr>
        <p:txBody>
          <a:bodyPr vert="horz" rIns="216000"/>
          <a:lstStyle>
            <a:lvl1pPr rtl="0">
              <a:defRPr spc="-50" baseline="0"/>
            </a:lvl1pPr>
          </a:lstStyle>
          <a:p>
            <a:r>
              <a:rPr lang="en-US" noProof="0"/>
              <a:t>Click to add a headline of maximum two lines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C57FF860-80C4-F544-9349-277B28F447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66315827-C45F-4960-AEDE-8DD0359AB171}" type="datetime1">
              <a:rPr lang="en-US" smtClean="0"/>
              <a:pPr/>
              <a:t>8/29/2025</a:t>
            </a:fld>
            <a:endParaRPr lang="en-US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61938E86-6CF5-9C42-AB2F-96E9B547A11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17CD396C-6A52-4D5A-BAE3-92A1CC3BBDE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Platshållare för text 15">
            <a:extLst>
              <a:ext uri="{FF2B5EF4-FFF2-40B4-BE49-F238E27FC236}">
                <a16:creationId xmlns:a16="http://schemas.microsoft.com/office/drawing/2014/main" id="{03424855-B277-8744-9C85-9975925B820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3850" y="276226"/>
            <a:ext cx="4176711" cy="276999"/>
          </a:xfrm>
        </p:spPr>
        <p:txBody>
          <a:bodyPr lIns="111600" rIns="216000" anchor="t"/>
          <a:lstStyle>
            <a:lvl1pPr marL="3175" indent="-3175" rtl="0">
              <a:buNone/>
              <a:tabLst/>
              <a:defRPr sz="12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add navigation/subheader</a:t>
            </a:r>
          </a:p>
        </p:txBody>
      </p:sp>
      <p:sp>
        <p:nvSpPr>
          <p:cNvPr id="19" name="Platshållare för text 18">
            <a:extLst>
              <a:ext uri="{FF2B5EF4-FFF2-40B4-BE49-F238E27FC236}">
                <a16:creationId xmlns:a16="http://schemas.microsoft.com/office/drawing/2014/main" id="{4615DFA7-0616-B744-975C-88C9447A199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3849" y="4612038"/>
            <a:ext cx="4176710" cy="142886"/>
          </a:xfrm>
        </p:spPr>
        <p:txBody>
          <a:bodyPr lIns="111600" tIns="0" rIns="144000" bIns="0" anchor="ctr"/>
          <a:lstStyle>
            <a:lvl1pPr rtl="0">
              <a:buNone/>
              <a:defRPr sz="600"/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/>
            <a:r>
              <a:rPr lang="en-US" noProof="0"/>
              <a:t>*Click to add footnotes</a:t>
            </a:r>
          </a:p>
        </p:txBody>
      </p:sp>
      <p:sp>
        <p:nvSpPr>
          <p:cNvPr id="23" name="Platshållare för text 16">
            <a:extLst>
              <a:ext uri="{FF2B5EF4-FFF2-40B4-BE49-F238E27FC236}">
                <a16:creationId xmlns:a16="http://schemas.microsoft.com/office/drawing/2014/main" id="{50F743A5-5C51-9245-9EAE-DDCB7C8FD65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3850" y="1360488"/>
            <a:ext cx="4176710" cy="307568"/>
          </a:xfrm>
        </p:spPr>
        <p:txBody>
          <a:bodyPr lIns="97200" rIns="216000"/>
          <a:lstStyle>
            <a:lvl1pPr marL="0" indent="0" algn="l" rtl="0">
              <a:lnSpc>
                <a:spcPct val="95000"/>
              </a:lnSpc>
              <a:spcBef>
                <a:spcPts val="0"/>
              </a:spcBef>
              <a:buNone/>
              <a:tabLst/>
              <a:defRPr sz="1200" b="1" spc="0" baseline="0"/>
            </a:lvl1pPr>
            <a:lvl2pPr marL="14288" indent="0" algn="ctr">
              <a:tabLst/>
              <a:defRPr/>
            </a:lvl2pPr>
            <a:lvl3pPr marL="14288" indent="0" algn="ctr">
              <a:tabLst/>
              <a:defRPr/>
            </a:lvl3pPr>
            <a:lvl4pPr marL="14288" indent="0" algn="ctr">
              <a:tabLst/>
              <a:defRPr/>
            </a:lvl4pPr>
            <a:lvl5pPr marL="14288" indent="0" algn="ctr">
              <a:tabLst/>
              <a:defRPr/>
            </a:lvl5pPr>
          </a:lstStyle>
          <a:p>
            <a:pPr lvl="0"/>
            <a:r>
              <a:rPr lang="en-US" noProof="0"/>
              <a:t>Click to add subheader</a:t>
            </a:r>
          </a:p>
        </p:txBody>
      </p:sp>
      <p:sp>
        <p:nvSpPr>
          <p:cNvPr id="21" name="Platshållare för tabell 2">
            <a:extLst>
              <a:ext uri="{FF2B5EF4-FFF2-40B4-BE49-F238E27FC236}">
                <a16:creationId xmlns:a16="http://schemas.microsoft.com/office/drawing/2014/main" id="{5303F358-E8FC-AF49-89C9-2DAF8C0EF0E6}"/>
              </a:ext>
            </a:extLst>
          </p:cNvPr>
          <p:cNvSpPr>
            <a:spLocks noGrp="1"/>
          </p:cNvSpPr>
          <p:nvPr>
            <p:ph type="tbl" sz="quarter" idx="23" hasCustomPrompt="1"/>
          </p:nvPr>
        </p:nvSpPr>
        <p:spPr>
          <a:xfrm>
            <a:off x="323851" y="1718175"/>
            <a:ext cx="4061112" cy="2808499"/>
          </a:xfrm>
        </p:spPr>
        <p:txBody>
          <a:bodyPr/>
          <a:lstStyle>
            <a:lvl1pPr marL="14288" indent="-14288" algn="ctr" rtl="0">
              <a:buNone/>
              <a:tabLst/>
              <a:defRPr sz="800"/>
            </a:lvl1pPr>
          </a:lstStyle>
          <a:p>
            <a:r>
              <a:rPr lang="en-US" sz="800" noProof="0"/>
              <a:t>Click on the icon to add table</a:t>
            </a:r>
            <a:endParaRPr lang="en-US" noProof="0"/>
          </a:p>
        </p:txBody>
      </p:sp>
      <p:sp>
        <p:nvSpPr>
          <p:cNvPr id="15" name="Platshållare för bild 3">
            <a:extLst>
              <a:ext uri="{FF2B5EF4-FFF2-40B4-BE49-F238E27FC236}">
                <a16:creationId xmlns:a16="http://schemas.microsoft.com/office/drawing/2014/main" id="{F782635C-88D6-3E42-BB72-11F54CF9C37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643439" y="158750"/>
            <a:ext cx="4321174" cy="4681538"/>
          </a:xfrm>
          <a:blipFill>
            <a:blip r:embed="rId5"/>
            <a:tile tx="0" ty="0" sx="100000" sy="100000" flip="none" algn="tl"/>
          </a:blipFill>
        </p:spPr>
        <p:txBody>
          <a:bodyPr/>
          <a:lstStyle>
            <a:lvl1pPr algn="ctr" rtl="0">
              <a:buNone/>
              <a:defRPr sz="8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en-US" noProof="0"/>
              <a:t>Click on the icon to add an image</a:t>
            </a:r>
          </a:p>
        </p:txBody>
      </p:sp>
      <p:sp>
        <p:nvSpPr>
          <p:cNvPr id="13" name="Platshållare för sidfot 6">
            <a:extLst>
              <a:ext uri="{FF2B5EF4-FFF2-40B4-BE49-F238E27FC236}">
                <a16:creationId xmlns:a16="http://schemas.microsoft.com/office/drawing/2014/main" id="{4B96F3CE-6E2A-694C-81D4-04890DECF65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84887" y="4901296"/>
            <a:ext cx="2879823" cy="1152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 rtl="0">
              <a:defRPr sz="600">
                <a:solidFill>
                  <a:srgbClr val="737373"/>
                </a:solidFill>
              </a:defRPr>
            </a:lvl1pPr>
          </a:lstStyle>
          <a:p>
            <a:r>
              <a:rPr lang="en-US"/>
              <a:t>Go to header/footer to change text 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62769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wo T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F3DACC47-08F2-7776-518C-60616FE692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70575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7" imgH="277" progId="TCLayout.ActiveDocument.1">
                  <p:embed/>
                </p:oleObj>
              </mc:Choice>
              <mc:Fallback>
                <p:oleObj name="think-cell Folie" r:id="rId3" imgW="277" imgH="277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F3DACC47-08F2-7776-518C-60616FE692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>
            <a:extLst>
              <a:ext uri="{FF2B5EF4-FFF2-40B4-BE49-F238E27FC236}">
                <a16:creationId xmlns:a16="http://schemas.microsoft.com/office/drawing/2014/main" id="{BFC9456A-AC97-4548-90B9-837374C5AA8F}"/>
              </a:ext>
            </a:extLst>
          </p:cNvPr>
          <p:cNvSpPr/>
          <p:nvPr userDrawn="1"/>
        </p:nvSpPr>
        <p:spPr>
          <a:xfrm>
            <a:off x="179388" y="158750"/>
            <a:ext cx="4321175" cy="468153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14" name="Rektangel 13">
            <a:extLst>
              <a:ext uri="{FF2B5EF4-FFF2-40B4-BE49-F238E27FC236}">
                <a16:creationId xmlns:a16="http://schemas.microsoft.com/office/drawing/2014/main" id="{3FD66BB0-D188-F64F-8A99-3B7059D82732}"/>
              </a:ext>
            </a:extLst>
          </p:cNvPr>
          <p:cNvSpPr/>
          <p:nvPr userDrawn="1"/>
        </p:nvSpPr>
        <p:spPr>
          <a:xfrm>
            <a:off x="4643439" y="158750"/>
            <a:ext cx="4321174" cy="468153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38A7CF33-452A-714F-A2F4-CE61781904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851" y="545326"/>
            <a:ext cx="4176712" cy="737102"/>
          </a:xfrm>
        </p:spPr>
        <p:txBody>
          <a:bodyPr vert="horz" rIns="216000"/>
          <a:lstStyle>
            <a:lvl1pPr rtl="0">
              <a:defRPr spc="-50" baseline="0"/>
            </a:lvl1pPr>
          </a:lstStyle>
          <a:p>
            <a:r>
              <a:rPr lang="en-US" noProof="0"/>
              <a:t>Click to add a headline of maximum two lines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C57FF860-80C4-F544-9349-277B28F447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EB406829-88DB-4400-AD3A-75B61C93D9E8}" type="datetime1">
              <a:rPr lang="en-US" smtClean="0"/>
              <a:pPr/>
              <a:t>8/29/2025</a:t>
            </a:fld>
            <a:endParaRPr lang="en-US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61938E86-6CF5-9C42-AB2F-96E9B547A11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17CD396C-6A52-4D5A-BAE3-92A1CC3BBDE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Platshållare för text 15">
            <a:extLst>
              <a:ext uri="{FF2B5EF4-FFF2-40B4-BE49-F238E27FC236}">
                <a16:creationId xmlns:a16="http://schemas.microsoft.com/office/drawing/2014/main" id="{03424855-B277-8744-9C85-9975925B820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3850" y="276226"/>
            <a:ext cx="4176712" cy="276999"/>
          </a:xfrm>
        </p:spPr>
        <p:txBody>
          <a:bodyPr lIns="111600" rIns="216000" anchor="t"/>
          <a:lstStyle>
            <a:lvl1pPr marL="3175" indent="-3175" rtl="0">
              <a:buNone/>
              <a:tabLst/>
              <a:defRPr sz="12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add navigation/subheader</a:t>
            </a:r>
          </a:p>
        </p:txBody>
      </p:sp>
      <p:sp>
        <p:nvSpPr>
          <p:cNvPr id="19" name="Platshållare för text 18">
            <a:extLst>
              <a:ext uri="{FF2B5EF4-FFF2-40B4-BE49-F238E27FC236}">
                <a16:creationId xmlns:a16="http://schemas.microsoft.com/office/drawing/2014/main" id="{4615DFA7-0616-B744-975C-88C9447A199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3848" y="4612038"/>
            <a:ext cx="4176711" cy="142886"/>
          </a:xfrm>
        </p:spPr>
        <p:txBody>
          <a:bodyPr lIns="111600" tIns="0" rIns="144000" bIns="0" anchor="ctr"/>
          <a:lstStyle>
            <a:lvl1pPr rtl="0">
              <a:buNone/>
              <a:defRPr sz="600"/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/>
            <a:r>
              <a:rPr lang="en-US" noProof="0"/>
              <a:t>*Click to add footnotes</a:t>
            </a:r>
          </a:p>
        </p:txBody>
      </p:sp>
      <p:sp>
        <p:nvSpPr>
          <p:cNvPr id="23" name="Platshållare för text 16">
            <a:extLst>
              <a:ext uri="{FF2B5EF4-FFF2-40B4-BE49-F238E27FC236}">
                <a16:creationId xmlns:a16="http://schemas.microsoft.com/office/drawing/2014/main" id="{50F743A5-5C51-9245-9EAE-DDCB7C8FD65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3849" y="1360488"/>
            <a:ext cx="4176711" cy="307568"/>
          </a:xfrm>
        </p:spPr>
        <p:txBody>
          <a:bodyPr lIns="97200" rIns="216000"/>
          <a:lstStyle>
            <a:lvl1pPr marL="0" indent="0" algn="l" rtl="0">
              <a:lnSpc>
                <a:spcPct val="95000"/>
              </a:lnSpc>
              <a:spcBef>
                <a:spcPts val="0"/>
              </a:spcBef>
              <a:buNone/>
              <a:tabLst/>
              <a:defRPr sz="1200" b="1" spc="0" baseline="0"/>
            </a:lvl1pPr>
            <a:lvl2pPr marL="14288" indent="0" algn="ctr">
              <a:tabLst/>
              <a:defRPr/>
            </a:lvl2pPr>
            <a:lvl3pPr marL="14288" indent="0" algn="ctr">
              <a:tabLst/>
              <a:defRPr/>
            </a:lvl3pPr>
            <a:lvl4pPr marL="14288" indent="0" algn="ctr">
              <a:tabLst/>
              <a:defRPr/>
            </a:lvl4pPr>
            <a:lvl5pPr marL="14288" indent="0" algn="ctr">
              <a:tabLst/>
              <a:defRPr/>
            </a:lvl5pPr>
          </a:lstStyle>
          <a:p>
            <a:pPr lvl="0"/>
            <a:r>
              <a:rPr lang="en-US" noProof="0"/>
              <a:t>Click to add subheader</a:t>
            </a:r>
          </a:p>
        </p:txBody>
      </p:sp>
      <p:sp>
        <p:nvSpPr>
          <p:cNvPr id="20" name="Platshållare för text 16">
            <a:extLst>
              <a:ext uri="{FF2B5EF4-FFF2-40B4-BE49-F238E27FC236}">
                <a16:creationId xmlns:a16="http://schemas.microsoft.com/office/drawing/2014/main" id="{E1517231-41C6-AF48-91E9-89342815BF6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643439" y="1360488"/>
            <a:ext cx="4176712" cy="305634"/>
          </a:xfrm>
        </p:spPr>
        <p:txBody>
          <a:bodyPr lIns="216000" rIns="216000"/>
          <a:lstStyle>
            <a:lvl1pPr marL="0" indent="0" algn="l" rtl="0">
              <a:lnSpc>
                <a:spcPct val="95000"/>
              </a:lnSpc>
              <a:spcBef>
                <a:spcPts val="0"/>
              </a:spcBef>
              <a:buNone/>
              <a:tabLst/>
              <a:defRPr sz="1200" b="1" spc="0" baseline="0"/>
            </a:lvl1pPr>
            <a:lvl2pPr marL="14288" indent="0" algn="ctr">
              <a:tabLst/>
              <a:defRPr/>
            </a:lvl2pPr>
            <a:lvl3pPr marL="14288" indent="0" algn="ctr">
              <a:tabLst/>
              <a:defRPr/>
            </a:lvl3pPr>
            <a:lvl4pPr marL="14288" indent="0" algn="ctr">
              <a:tabLst/>
              <a:defRPr/>
            </a:lvl4pPr>
            <a:lvl5pPr marL="14288" indent="0" algn="ctr">
              <a:tabLst/>
              <a:defRPr/>
            </a:lvl5pPr>
          </a:lstStyle>
          <a:p>
            <a:pPr lvl="0"/>
            <a:r>
              <a:rPr lang="en-US" noProof="0"/>
              <a:t>Click to add subheader</a:t>
            </a:r>
          </a:p>
        </p:txBody>
      </p:sp>
      <p:sp>
        <p:nvSpPr>
          <p:cNvPr id="21" name="Platshållare för tabell 2">
            <a:extLst>
              <a:ext uri="{FF2B5EF4-FFF2-40B4-BE49-F238E27FC236}">
                <a16:creationId xmlns:a16="http://schemas.microsoft.com/office/drawing/2014/main" id="{5303F358-E8FC-AF49-89C9-2DAF8C0EF0E6}"/>
              </a:ext>
            </a:extLst>
          </p:cNvPr>
          <p:cNvSpPr>
            <a:spLocks noGrp="1"/>
          </p:cNvSpPr>
          <p:nvPr>
            <p:ph type="tbl" sz="quarter" idx="23" hasCustomPrompt="1"/>
          </p:nvPr>
        </p:nvSpPr>
        <p:spPr>
          <a:xfrm>
            <a:off x="323851" y="1718175"/>
            <a:ext cx="4061112" cy="2808499"/>
          </a:xfrm>
        </p:spPr>
        <p:txBody>
          <a:bodyPr/>
          <a:lstStyle>
            <a:lvl1pPr marL="14288" indent="-14288" algn="ctr" rtl="0">
              <a:buNone/>
              <a:tabLst/>
              <a:defRPr sz="800"/>
            </a:lvl1pPr>
          </a:lstStyle>
          <a:p>
            <a:r>
              <a:rPr lang="en-US" sz="800" noProof="0"/>
              <a:t>Click on the icon to add table</a:t>
            </a:r>
            <a:endParaRPr lang="en-US" noProof="0"/>
          </a:p>
        </p:txBody>
      </p:sp>
      <p:sp>
        <p:nvSpPr>
          <p:cNvPr id="22" name="Platshållare för tabell 2">
            <a:extLst>
              <a:ext uri="{FF2B5EF4-FFF2-40B4-BE49-F238E27FC236}">
                <a16:creationId xmlns:a16="http://schemas.microsoft.com/office/drawing/2014/main" id="{2742DE3F-FB80-1F4A-A200-34E875236096}"/>
              </a:ext>
            </a:extLst>
          </p:cNvPr>
          <p:cNvSpPr>
            <a:spLocks noGrp="1"/>
          </p:cNvSpPr>
          <p:nvPr>
            <p:ph type="tbl" sz="quarter" idx="24" hasCustomPrompt="1"/>
          </p:nvPr>
        </p:nvSpPr>
        <p:spPr>
          <a:xfrm>
            <a:off x="4786193" y="1718175"/>
            <a:ext cx="3910915" cy="2808499"/>
          </a:xfrm>
        </p:spPr>
        <p:txBody>
          <a:bodyPr/>
          <a:lstStyle>
            <a:lvl1pPr marL="14288" indent="-14288" algn="ctr" rtl="0">
              <a:buNone/>
              <a:tabLst/>
              <a:defRPr sz="800"/>
            </a:lvl1pPr>
          </a:lstStyle>
          <a:p>
            <a:r>
              <a:rPr lang="en-US" sz="800" noProof="0"/>
              <a:t>Click on the icon to add table</a:t>
            </a:r>
            <a:endParaRPr lang="en-US" noProof="0"/>
          </a:p>
        </p:txBody>
      </p:sp>
      <p:sp>
        <p:nvSpPr>
          <p:cNvPr id="24" name="Platshållare för text 18">
            <a:extLst>
              <a:ext uri="{FF2B5EF4-FFF2-40B4-BE49-F238E27FC236}">
                <a16:creationId xmlns:a16="http://schemas.microsoft.com/office/drawing/2014/main" id="{224243C5-096F-734D-868D-6CEA739698B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86193" y="4612038"/>
            <a:ext cx="4033957" cy="142886"/>
          </a:xfrm>
        </p:spPr>
        <p:txBody>
          <a:bodyPr lIns="111600" tIns="0" rIns="144000" bIns="0" anchor="ctr"/>
          <a:lstStyle>
            <a:lvl1pPr rtl="0">
              <a:buNone/>
              <a:defRPr sz="600"/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/>
            <a:r>
              <a:rPr lang="en-US" noProof="0"/>
              <a:t>*Click to add footnotes</a:t>
            </a:r>
          </a:p>
        </p:txBody>
      </p:sp>
      <p:sp>
        <p:nvSpPr>
          <p:cNvPr id="15" name="Platshållare för sidfot 6">
            <a:extLst>
              <a:ext uri="{FF2B5EF4-FFF2-40B4-BE49-F238E27FC236}">
                <a16:creationId xmlns:a16="http://schemas.microsoft.com/office/drawing/2014/main" id="{F63257F7-5107-964D-B8AA-BAFC1CD3ED8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84887" y="4901296"/>
            <a:ext cx="2879823" cy="1152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 rtl="0">
              <a:defRPr sz="600">
                <a:solidFill>
                  <a:srgbClr val="737373"/>
                </a:solidFill>
              </a:defRPr>
            </a:lvl1pPr>
          </a:lstStyle>
          <a:p>
            <a:r>
              <a:rPr lang="en-US"/>
              <a:t>Go to header/footer to change text 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507570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DA354878-5889-1EE2-CC7C-C96EF68411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21322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7" imgH="277" progId="TCLayout.ActiveDocument.1">
                  <p:embed/>
                </p:oleObj>
              </mc:Choice>
              <mc:Fallback>
                <p:oleObj name="think-cell Folie" r:id="rId3" imgW="277" imgH="277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DA354878-5889-1EE2-CC7C-C96EF68411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>
            <a:extLst>
              <a:ext uri="{FF2B5EF4-FFF2-40B4-BE49-F238E27FC236}">
                <a16:creationId xmlns:a16="http://schemas.microsoft.com/office/drawing/2014/main" id="{BFC9456A-AC97-4548-90B9-837374C5AA8F}"/>
              </a:ext>
            </a:extLst>
          </p:cNvPr>
          <p:cNvSpPr/>
          <p:nvPr userDrawn="1"/>
        </p:nvSpPr>
        <p:spPr>
          <a:xfrm>
            <a:off x="179388" y="158750"/>
            <a:ext cx="4321175" cy="468153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38A7CF33-452A-714F-A2F4-CE61781904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851" y="545326"/>
            <a:ext cx="4176712" cy="737102"/>
          </a:xfrm>
        </p:spPr>
        <p:txBody>
          <a:bodyPr vert="horz" rIns="216000"/>
          <a:lstStyle>
            <a:lvl1pPr rtl="0">
              <a:defRPr spc="-50" baseline="0"/>
            </a:lvl1pPr>
          </a:lstStyle>
          <a:p>
            <a:r>
              <a:rPr lang="en-US" noProof="0"/>
              <a:t>Click to add a headline of maximum two lines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C57FF860-80C4-F544-9349-277B28F447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871EF00D-D593-4DAA-BC3F-A305D171D2E5}" type="datetime1">
              <a:rPr lang="en-US" smtClean="0"/>
              <a:pPr/>
              <a:t>8/29/2025</a:t>
            </a:fld>
            <a:endParaRPr lang="en-US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61938E86-6CF5-9C42-AB2F-96E9B547A11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17CD396C-6A52-4D5A-BAE3-92A1CC3BBDE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Platshållare för text 15">
            <a:extLst>
              <a:ext uri="{FF2B5EF4-FFF2-40B4-BE49-F238E27FC236}">
                <a16:creationId xmlns:a16="http://schemas.microsoft.com/office/drawing/2014/main" id="{03424855-B277-8744-9C85-9975925B820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3850" y="276226"/>
            <a:ext cx="4176712" cy="276999"/>
          </a:xfrm>
        </p:spPr>
        <p:txBody>
          <a:bodyPr lIns="111600" rIns="216000" anchor="t"/>
          <a:lstStyle>
            <a:lvl1pPr marL="3175" indent="-3175" rtl="0">
              <a:buNone/>
              <a:tabLst/>
              <a:defRPr sz="12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add navigation/subheader</a:t>
            </a:r>
          </a:p>
        </p:txBody>
      </p:sp>
      <p:sp>
        <p:nvSpPr>
          <p:cNvPr id="19" name="Platshållare för text 18">
            <a:extLst>
              <a:ext uri="{FF2B5EF4-FFF2-40B4-BE49-F238E27FC236}">
                <a16:creationId xmlns:a16="http://schemas.microsoft.com/office/drawing/2014/main" id="{4615DFA7-0616-B744-975C-88C9447A199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3848" y="4612038"/>
            <a:ext cx="4176711" cy="142886"/>
          </a:xfrm>
        </p:spPr>
        <p:txBody>
          <a:bodyPr lIns="111600" tIns="0" bIns="0" anchor="ctr"/>
          <a:lstStyle>
            <a:lvl1pPr rtl="0">
              <a:buNone/>
              <a:defRPr sz="600"/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/>
            <a:r>
              <a:rPr lang="en-US" noProof="0"/>
              <a:t>*Click to add footnotes</a:t>
            </a:r>
          </a:p>
        </p:txBody>
      </p:sp>
      <p:sp>
        <p:nvSpPr>
          <p:cNvPr id="23" name="Platshållare för text 16">
            <a:extLst>
              <a:ext uri="{FF2B5EF4-FFF2-40B4-BE49-F238E27FC236}">
                <a16:creationId xmlns:a16="http://schemas.microsoft.com/office/drawing/2014/main" id="{50F743A5-5C51-9245-9EAE-DDCB7C8FD65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3849" y="1360488"/>
            <a:ext cx="4176711" cy="307568"/>
          </a:xfrm>
        </p:spPr>
        <p:txBody>
          <a:bodyPr lIns="97200" rIns="216000"/>
          <a:lstStyle>
            <a:lvl1pPr marL="0" indent="0" algn="l" rtl="0">
              <a:lnSpc>
                <a:spcPct val="95000"/>
              </a:lnSpc>
              <a:spcBef>
                <a:spcPts val="0"/>
              </a:spcBef>
              <a:buNone/>
              <a:tabLst/>
              <a:defRPr sz="1200" b="1" spc="0" baseline="0"/>
            </a:lvl1pPr>
            <a:lvl2pPr marL="14288" indent="0" algn="ctr">
              <a:tabLst/>
              <a:defRPr/>
            </a:lvl2pPr>
            <a:lvl3pPr marL="14288" indent="0" algn="ctr">
              <a:tabLst/>
              <a:defRPr/>
            </a:lvl3pPr>
            <a:lvl4pPr marL="14288" indent="0" algn="ctr">
              <a:tabLst/>
              <a:defRPr/>
            </a:lvl4pPr>
            <a:lvl5pPr marL="14288" indent="0" algn="ctr">
              <a:tabLst/>
              <a:defRPr/>
            </a:lvl5pPr>
          </a:lstStyle>
          <a:p>
            <a:pPr lvl="0"/>
            <a:r>
              <a:rPr lang="en-US" noProof="0"/>
              <a:t>Click to add subheader</a:t>
            </a:r>
          </a:p>
        </p:txBody>
      </p:sp>
      <p:sp>
        <p:nvSpPr>
          <p:cNvPr id="15" name="Platshållare för diagram 3">
            <a:extLst>
              <a:ext uri="{FF2B5EF4-FFF2-40B4-BE49-F238E27FC236}">
                <a16:creationId xmlns:a16="http://schemas.microsoft.com/office/drawing/2014/main" id="{BC097026-6010-794E-84C7-E4D861D386E1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323849" y="1716712"/>
            <a:ext cx="4061113" cy="2881463"/>
          </a:xfrm>
        </p:spPr>
        <p:txBody>
          <a:bodyPr/>
          <a:lstStyle>
            <a:lvl1pPr algn="ctr" rtl="0">
              <a:buNone/>
              <a:defRPr sz="800"/>
            </a:lvl1pPr>
          </a:lstStyle>
          <a:p>
            <a:r>
              <a:rPr lang="en-US" noProof="0"/>
              <a:t>Click on the icon to add chart</a:t>
            </a:r>
          </a:p>
        </p:txBody>
      </p:sp>
      <p:sp>
        <p:nvSpPr>
          <p:cNvPr id="17" name="Platshållare för bild 3">
            <a:extLst>
              <a:ext uri="{FF2B5EF4-FFF2-40B4-BE49-F238E27FC236}">
                <a16:creationId xmlns:a16="http://schemas.microsoft.com/office/drawing/2014/main" id="{F29AB92E-C679-0F42-AB24-CFF5D35D9B9D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643439" y="158750"/>
            <a:ext cx="4321174" cy="4681538"/>
          </a:xfrm>
          <a:blipFill>
            <a:blip r:embed="rId5"/>
            <a:tile tx="0" ty="0" sx="100000" sy="100000" flip="none" algn="tl"/>
          </a:blipFill>
        </p:spPr>
        <p:txBody>
          <a:bodyPr/>
          <a:lstStyle>
            <a:lvl1pPr algn="ctr" rtl="0">
              <a:buNone/>
              <a:defRPr sz="8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en-US" noProof="0"/>
              <a:t>Click on the icon to add an image</a:t>
            </a:r>
          </a:p>
        </p:txBody>
      </p:sp>
      <p:sp>
        <p:nvSpPr>
          <p:cNvPr id="13" name="Platshållare för sidfot 6">
            <a:extLst>
              <a:ext uri="{FF2B5EF4-FFF2-40B4-BE49-F238E27FC236}">
                <a16:creationId xmlns:a16="http://schemas.microsoft.com/office/drawing/2014/main" id="{A9DD7A81-9CDC-EE41-B2A7-373110E215D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84887" y="4901296"/>
            <a:ext cx="2879823" cy="1152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 rtl="0">
              <a:defRPr sz="600">
                <a:solidFill>
                  <a:srgbClr val="737373"/>
                </a:solidFill>
              </a:defRPr>
            </a:lvl1pPr>
          </a:lstStyle>
          <a:p>
            <a:r>
              <a:rPr lang="en-US"/>
              <a:t>Go to header/footer to change text 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59800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wo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B197CCF4-7279-7ACA-FAD4-0213972E80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976358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7" imgH="277" progId="TCLayout.ActiveDocument.1">
                  <p:embed/>
                </p:oleObj>
              </mc:Choice>
              <mc:Fallback>
                <p:oleObj name="think-cell Folie" r:id="rId3" imgW="277" imgH="277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B197CCF4-7279-7ACA-FAD4-0213972E80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>
            <a:extLst>
              <a:ext uri="{FF2B5EF4-FFF2-40B4-BE49-F238E27FC236}">
                <a16:creationId xmlns:a16="http://schemas.microsoft.com/office/drawing/2014/main" id="{BFC9456A-AC97-4548-90B9-837374C5AA8F}"/>
              </a:ext>
            </a:extLst>
          </p:cNvPr>
          <p:cNvSpPr/>
          <p:nvPr userDrawn="1"/>
        </p:nvSpPr>
        <p:spPr>
          <a:xfrm>
            <a:off x="179388" y="158750"/>
            <a:ext cx="4321175" cy="468153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14" name="Rektangel 13">
            <a:extLst>
              <a:ext uri="{FF2B5EF4-FFF2-40B4-BE49-F238E27FC236}">
                <a16:creationId xmlns:a16="http://schemas.microsoft.com/office/drawing/2014/main" id="{3FD66BB0-D188-F64F-8A99-3B7059D82732}"/>
              </a:ext>
            </a:extLst>
          </p:cNvPr>
          <p:cNvSpPr/>
          <p:nvPr userDrawn="1"/>
        </p:nvSpPr>
        <p:spPr>
          <a:xfrm>
            <a:off x="4643439" y="158750"/>
            <a:ext cx="4321174" cy="468153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38A7CF33-452A-714F-A2F4-CE61781904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851" y="545326"/>
            <a:ext cx="4176712" cy="737102"/>
          </a:xfrm>
        </p:spPr>
        <p:txBody>
          <a:bodyPr vert="horz" rIns="216000"/>
          <a:lstStyle>
            <a:lvl1pPr rtl="0">
              <a:defRPr spc="-50" baseline="0"/>
            </a:lvl1pPr>
          </a:lstStyle>
          <a:p>
            <a:r>
              <a:rPr lang="en-US" noProof="0"/>
              <a:t>Click to add a headline of maximum two lines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C57FF860-80C4-F544-9349-277B28F447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61170333-8C8E-4B3B-BC33-A91F1AEA63C9}" type="datetime1">
              <a:rPr lang="en-US" smtClean="0"/>
              <a:pPr/>
              <a:t>8/29/2025</a:t>
            </a:fld>
            <a:endParaRPr lang="en-US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61938E86-6CF5-9C42-AB2F-96E9B547A11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17CD396C-6A52-4D5A-BAE3-92A1CC3BBDE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Platshållare för text 15">
            <a:extLst>
              <a:ext uri="{FF2B5EF4-FFF2-40B4-BE49-F238E27FC236}">
                <a16:creationId xmlns:a16="http://schemas.microsoft.com/office/drawing/2014/main" id="{03424855-B277-8744-9C85-9975925B820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3850" y="276226"/>
            <a:ext cx="4176712" cy="276999"/>
          </a:xfrm>
        </p:spPr>
        <p:txBody>
          <a:bodyPr lIns="111600" rIns="216000" anchor="t"/>
          <a:lstStyle>
            <a:lvl1pPr marL="3175" indent="-3175" rtl="0">
              <a:buNone/>
              <a:tabLst/>
              <a:defRPr sz="12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add navigation/subheader</a:t>
            </a:r>
          </a:p>
        </p:txBody>
      </p:sp>
      <p:sp>
        <p:nvSpPr>
          <p:cNvPr id="19" name="Platshållare för text 18">
            <a:extLst>
              <a:ext uri="{FF2B5EF4-FFF2-40B4-BE49-F238E27FC236}">
                <a16:creationId xmlns:a16="http://schemas.microsoft.com/office/drawing/2014/main" id="{4615DFA7-0616-B744-975C-88C9447A199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3848" y="4612038"/>
            <a:ext cx="4176711" cy="142886"/>
          </a:xfrm>
        </p:spPr>
        <p:txBody>
          <a:bodyPr lIns="111600" tIns="0" bIns="0" anchor="ctr"/>
          <a:lstStyle>
            <a:lvl1pPr rtl="0">
              <a:buNone/>
              <a:defRPr sz="600"/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/>
            <a:r>
              <a:rPr lang="en-US" noProof="0"/>
              <a:t>*Click to add footnotes</a:t>
            </a:r>
          </a:p>
        </p:txBody>
      </p:sp>
      <p:sp>
        <p:nvSpPr>
          <p:cNvPr id="23" name="Platshållare för text 16">
            <a:extLst>
              <a:ext uri="{FF2B5EF4-FFF2-40B4-BE49-F238E27FC236}">
                <a16:creationId xmlns:a16="http://schemas.microsoft.com/office/drawing/2014/main" id="{50F743A5-5C51-9245-9EAE-DDCB7C8FD65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3849" y="1360488"/>
            <a:ext cx="4176711" cy="307568"/>
          </a:xfrm>
        </p:spPr>
        <p:txBody>
          <a:bodyPr lIns="97200" rIns="216000"/>
          <a:lstStyle>
            <a:lvl1pPr marL="0" indent="0" algn="l" rtl="0">
              <a:lnSpc>
                <a:spcPct val="95000"/>
              </a:lnSpc>
              <a:spcBef>
                <a:spcPts val="0"/>
              </a:spcBef>
              <a:buNone/>
              <a:tabLst/>
              <a:defRPr sz="1200" b="1" spc="0" baseline="0"/>
            </a:lvl1pPr>
            <a:lvl2pPr marL="14288" indent="0" algn="ctr">
              <a:tabLst/>
              <a:defRPr/>
            </a:lvl2pPr>
            <a:lvl3pPr marL="14288" indent="0" algn="ctr">
              <a:tabLst/>
              <a:defRPr/>
            </a:lvl3pPr>
            <a:lvl4pPr marL="14288" indent="0" algn="ctr">
              <a:tabLst/>
              <a:defRPr/>
            </a:lvl4pPr>
            <a:lvl5pPr marL="14288" indent="0" algn="ctr">
              <a:tabLst/>
              <a:defRPr/>
            </a:lvl5pPr>
          </a:lstStyle>
          <a:p>
            <a:pPr lvl="0"/>
            <a:r>
              <a:rPr lang="en-US" noProof="0"/>
              <a:t>Click to add subheader</a:t>
            </a:r>
          </a:p>
        </p:txBody>
      </p:sp>
      <p:sp>
        <p:nvSpPr>
          <p:cNvPr id="20" name="Platshållare för text 16">
            <a:extLst>
              <a:ext uri="{FF2B5EF4-FFF2-40B4-BE49-F238E27FC236}">
                <a16:creationId xmlns:a16="http://schemas.microsoft.com/office/drawing/2014/main" id="{E1517231-41C6-AF48-91E9-89342815BF6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89365" y="1360488"/>
            <a:ext cx="3910915" cy="305634"/>
          </a:xfrm>
        </p:spPr>
        <p:txBody>
          <a:bodyPr/>
          <a:lstStyle>
            <a:lvl1pPr marL="0" indent="0" algn="l" rtl="0">
              <a:lnSpc>
                <a:spcPct val="95000"/>
              </a:lnSpc>
              <a:spcBef>
                <a:spcPts val="0"/>
              </a:spcBef>
              <a:buNone/>
              <a:tabLst/>
              <a:defRPr sz="1200" b="1" spc="0" baseline="0"/>
            </a:lvl1pPr>
            <a:lvl2pPr marL="14288" indent="0" algn="ctr">
              <a:tabLst/>
              <a:defRPr/>
            </a:lvl2pPr>
            <a:lvl3pPr marL="14288" indent="0" algn="ctr">
              <a:tabLst/>
              <a:defRPr/>
            </a:lvl3pPr>
            <a:lvl4pPr marL="14288" indent="0" algn="ctr">
              <a:tabLst/>
              <a:defRPr/>
            </a:lvl4pPr>
            <a:lvl5pPr marL="14288" indent="0" algn="ctr">
              <a:tabLst/>
              <a:defRPr/>
            </a:lvl5pPr>
          </a:lstStyle>
          <a:p>
            <a:pPr lvl="0"/>
            <a:r>
              <a:rPr lang="en-US" noProof="0"/>
              <a:t>Click to add subheader</a:t>
            </a:r>
          </a:p>
        </p:txBody>
      </p:sp>
      <p:sp>
        <p:nvSpPr>
          <p:cNvPr id="24" name="Platshållare för text 18">
            <a:extLst>
              <a:ext uri="{FF2B5EF4-FFF2-40B4-BE49-F238E27FC236}">
                <a16:creationId xmlns:a16="http://schemas.microsoft.com/office/drawing/2014/main" id="{224243C5-096F-734D-868D-6CEA739698B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86193" y="4612038"/>
            <a:ext cx="3910918" cy="142886"/>
          </a:xfrm>
        </p:spPr>
        <p:txBody>
          <a:bodyPr lIns="111600" tIns="0" bIns="0" anchor="ctr"/>
          <a:lstStyle>
            <a:lvl1pPr rtl="0">
              <a:buNone/>
              <a:defRPr sz="600"/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/>
            <a:r>
              <a:rPr lang="en-US" noProof="0"/>
              <a:t>*Click to add footnotes</a:t>
            </a:r>
          </a:p>
        </p:txBody>
      </p:sp>
      <p:sp>
        <p:nvSpPr>
          <p:cNvPr id="15" name="Platshållare för diagram 3">
            <a:extLst>
              <a:ext uri="{FF2B5EF4-FFF2-40B4-BE49-F238E27FC236}">
                <a16:creationId xmlns:a16="http://schemas.microsoft.com/office/drawing/2014/main" id="{BC097026-6010-794E-84C7-E4D861D386E1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323849" y="1716712"/>
            <a:ext cx="4061113" cy="2881463"/>
          </a:xfrm>
        </p:spPr>
        <p:txBody>
          <a:bodyPr/>
          <a:lstStyle>
            <a:lvl1pPr algn="ctr" rtl="0">
              <a:buNone/>
              <a:defRPr sz="800"/>
            </a:lvl1pPr>
          </a:lstStyle>
          <a:p>
            <a:r>
              <a:rPr lang="en-US" noProof="0"/>
              <a:t>Click on the icon to add chart</a:t>
            </a:r>
          </a:p>
        </p:txBody>
      </p:sp>
      <p:sp>
        <p:nvSpPr>
          <p:cNvPr id="16" name="Platshållare för diagram 3">
            <a:extLst>
              <a:ext uri="{FF2B5EF4-FFF2-40B4-BE49-F238E27FC236}">
                <a16:creationId xmlns:a16="http://schemas.microsoft.com/office/drawing/2014/main" id="{911A539F-0F08-C546-AB78-D6C09FB0F8C2}"/>
              </a:ext>
            </a:extLst>
          </p:cNvPr>
          <p:cNvSpPr>
            <a:spLocks noGrp="1"/>
          </p:cNvSpPr>
          <p:nvPr>
            <p:ph type="chart" sz="quarter" idx="26" hasCustomPrompt="1"/>
          </p:nvPr>
        </p:nvSpPr>
        <p:spPr>
          <a:xfrm>
            <a:off x="4789366" y="1716712"/>
            <a:ext cx="3907745" cy="2881463"/>
          </a:xfrm>
        </p:spPr>
        <p:txBody>
          <a:bodyPr/>
          <a:lstStyle>
            <a:lvl1pPr algn="ctr" rtl="0">
              <a:buNone/>
              <a:defRPr sz="800"/>
            </a:lvl1pPr>
          </a:lstStyle>
          <a:p>
            <a:r>
              <a:rPr lang="en-US" noProof="0"/>
              <a:t>Click on the icon to add chart</a:t>
            </a:r>
          </a:p>
        </p:txBody>
      </p:sp>
      <p:sp>
        <p:nvSpPr>
          <p:cNvPr id="17" name="Platshållare för sidfot 6">
            <a:extLst>
              <a:ext uri="{FF2B5EF4-FFF2-40B4-BE49-F238E27FC236}">
                <a16:creationId xmlns:a16="http://schemas.microsoft.com/office/drawing/2014/main" id="{CD7C8291-DE5B-F34B-9F73-19645F51AE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84887" y="4901296"/>
            <a:ext cx="2879823" cy="1152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 rtl="0">
              <a:defRPr sz="600">
                <a:solidFill>
                  <a:srgbClr val="737373"/>
                </a:solidFill>
              </a:defRPr>
            </a:lvl1pPr>
          </a:lstStyle>
          <a:p>
            <a:r>
              <a:rPr lang="en-US"/>
              <a:t>Go to header/footer to change text 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4715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 and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79B079E-A02F-A8BE-9935-77AB2F6E8A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50402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7" imgH="277" progId="TCLayout.ActiveDocument.1">
                  <p:embed/>
                </p:oleObj>
              </mc:Choice>
              <mc:Fallback>
                <p:oleObj name="think-cell Folie" r:id="rId3" imgW="277" imgH="277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79B079E-A02F-A8BE-9935-77AB2F6E8A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>
            <a:extLst>
              <a:ext uri="{FF2B5EF4-FFF2-40B4-BE49-F238E27FC236}">
                <a16:creationId xmlns:a16="http://schemas.microsoft.com/office/drawing/2014/main" id="{BFC9456A-AC97-4548-90B9-837374C5AA8F}"/>
              </a:ext>
            </a:extLst>
          </p:cNvPr>
          <p:cNvSpPr/>
          <p:nvPr userDrawn="1"/>
        </p:nvSpPr>
        <p:spPr>
          <a:xfrm>
            <a:off x="179388" y="158750"/>
            <a:ext cx="5761037" cy="468153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38A7CF33-452A-714F-A2F4-CE61781904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851" y="545326"/>
            <a:ext cx="5616574" cy="737102"/>
          </a:xfrm>
        </p:spPr>
        <p:txBody>
          <a:bodyPr vert="horz" rIns="216000"/>
          <a:lstStyle>
            <a:lvl1pPr rtl="0">
              <a:defRPr spc="-50" baseline="0"/>
            </a:lvl1pPr>
          </a:lstStyle>
          <a:p>
            <a:r>
              <a:rPr lang="en-US" noProof="0"/>
              <a:t>Click to add a headline of maximum two lines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C57FF860-80C4-F544-9349-277B28F447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DA70E521-D827-4540-AE3E-87D32AD704C8}" type="datetime1">
              <a:rPr lang="en-US" smtClean="0"/>
              <a:pPr/>
              <a:t>8/29/2025</a:t>
            </a:fld>
            <a:endParaRPr lang="en-US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61938E86-6CF5-9C42-AB2F-96E9B547A11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17CD396C-6A52-4D5A-BAE3-92A1CC3BBDE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Platshållare för text 15">
            <a:extLst>
              <a:ext uri="{FF2B5EF4-FFF2-40B4-BE49-F238E27FC236}">
                <a16:creationId xmlns:a16="http://schemas.microsoft.com/office/drawing/2014/main" id="{03424855-B277-8744-9C85-9975925B820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3850" y="276226"/>
            <a:ext cx="5616574" cy="276999"/>
          </a:xfrm>
        </p:spPr>
        <p:txBody>
          <a:bodyPr lIns="111600" rIns="216000" anchor="t"/>
          <a:lstStyle>
            <a:lvl1pPr marL="3175" indent="-3175" rtl="0">
              <a:buNone/>
              <a:tabLst/>
              <a:defRPr sz="12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add navigation/subheader</a:t>
            </a:r>
          </a:p>
        </p:txBody>
      </p:sp>
      <p:sp>
        <p:nvSpPr>
          <p:cNvPr id="19" name="Platshållare för text 18">
            <a:extLst>
              <a:ext uri="{FF2B5EF4-FFF2-40B4-BE49-F238E27FC236}">
                <a16:creationId xmlns:a16="http://schemas.microsoft.com/office/drawing/2014/main" id="{4615DFA7-0616-B744-975C-88C9447A199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3848" y="4612038"/>
            <a:ext cx="5616574" cy="142886"/>
          </a:xfrm>
        </p:spPr>
        <p:txBody>
          <a:bodyPr lIns="111600" tIns="0" rIns="216000" bIns="0" anchor="ctr"/>
          <a:lstStyle>
            <a:lvl1pPr rtl="0">
              <a:buNone/>
              <a:defRPr sz="600"/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/>
            <a:r>
              <a:rPr lang="en-US" noProof="0"/>
              <a:t>*Click to add footnotes</a:t>
            </a:r>
          </a:p>
        </p:txBody>
      </p:sp>
      <p:sp>
        <p:nvSpPr>
          <p:cNvPr id="22" name="Platshållare för diagram 3">
            <a:extLst>
              <a:ext uri="{FF2B5EF4-FFF2-40B4-BE49-F238E27FC236}">
                <a16:creationId xmlns:a16="http://schemas.microsoft.com/office/drawing/2014/main" id="{C416A6EE-D97D-0D43-917F-3B0293FCF6E8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323849" y="1718174"/>
            <a:ext cx="5616575" cy="2880000"/>
          </a:xfrm>
        </p:spPr>
        <p:txBody>
          <a:bodyPr/>
          <a:lstStyle>
            <a:lvl1pPr algn="ctr" rtl="0">
              <a:buNone/>
              <a:defRPr sz="800"/>
            </a:lvl1pPr>
          </a:lstStyle>
          <a:p>
            <a:r>
              <a:rPr lang="en-US" noProof="0"/>
              <a:t>Click on the icon to add chart</a:t>
            </a:r>
          </a:p>
        </p:txBody>
      </p:sp>
      <p:sp>
        <p:nvSpPr>
          <p:cNvPr id="23" name="Platshållare för text 16">
            <a:extLst>
              <a:ext uri="{FF2B5EF4-FFF2-40B4-BE49-F238E27FC236}">
                <a16:creationId xmlns:a16="http://schemas.microsoft.com/office/drawing/2014/main" id="{50F743A5-5C51-9245-9EAE-DDCB7C8FD65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3849" y="1360488"/>
            <a:ext cx="5616574" cy="307568"/>
          </a:xfrm>
        </p:spPr>
        <p:txBody>
          <a:bodyPr lIns="97200" rIns="216000"/>
          <a:lstStyle>
            <a:lvl1pPr marL="0" indent="0" algn="l" rtl="0">
              <a:lnSpc>
                <a:spcPct val="95000"/>
              </a:lnSpc>
              <a:spcBef>
                <a:spcPts val="0"/>
              </a:spcBef>
              <a:buNone/>
              <a:tabLst/>
              <a:defRPr sz="1200" b="1" spc="0" baseline="0"/>
            </a:lvl1pPr>
            <a:lvl2pPr marL="14288" indent="0" algn="ctr">
              <a:tabLst/>
              <a:defRPr/>
            </a:lvl2pPr>
            <a:lvl3pPr marL="14288" indent="0" algn="ctr">
              <a:tabLst/>
              <a:defRPr/>
            </a:lvl3pPr>
            <a:lvl4pPr marL="14288" indent="0" algn="ctr">
              <a:tabLst/>
              <a:defRPr/>
            </a:lvl4pPr>
            <a:lvl5pPr marL="14288" indent="0" algn="ctr">
              <a:tabLst/>
              <a:defRPr/>
            </a:lvl5pPr>
          </a:lstStyle>
          <a:p>
            <a:pPr lvl="0"/>
            <a:r>
              <a:rPr lang="en-US" noProof="0"/>
              <a:t>Click to add subheader</a:t>
            </a:r>
          </a:p>
        </p:txBody>
      </p:sp>
      <p:sp>
        <p:nvSpPr>
          <p:cNvPr id="11" name="Platshållare för text 16">
            <a:extLst>
              <a:ext uri="{FF2B5EF4-FFF2-40B4-BE49-F238E27FC236}">
                <a16:creationId xmlns:a16="http://schemas.microsoft.com/office/drawing/2014/main" id="{78C11A51-69E9-4844-9E08-A1854CBA41F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88061" y="1360488"/>
            <a:ext cx="2732090" cy="305634"/>
          </a:xfrm>
        </p:spPr>
        <p:txBody>
          <a:bodyPr lIns="216000" rIns="216000"/>
          <a:lstStyle>
            <a:lvl1pPr marL="0" indent="0" algn="l" rtl="0">
              <a:lnSpc>
                <a:spcPct val="95000"/>
              </a:lnSpc>
              <a:spcBef>
                <a:spcPts val="0"/>
              </a:spcBef>
              <a:buNone/>
              <a:tabLst/>
              <a:defRPr sz="1200" b="1" spc="0" baseline="0"/>
            </a:lvl1pPr>
            <a:lvl2pPr marL="14288" indent="0" algn="ctr">
              <a:tabLst/>
              <a:defRPr/>
            </a:lvl2pPr>
            <a:lvl3pPr marL="14288" indent="0" algn="ctr">
              <a:tabLst/>
              <a:defRPr/>
            </a:lvl3pPr>
            <a:lvl4pPr marL="14288" indent="0" algn="ctr">
              <a:tabLst/>
              <a:defRPr/>
            </a:lvl4pPr>
            <a:lvl5pPr marL="14288" indent="0" algn="ctr">
              <a:tabLst/>
              <a:defRPr/>
            </a:lvl5pPr>
          </a:lstStyle>
          <a:p>
            <a:pPr lvl="0"/>
            <a:r>
              <a:rPr lang="en-US" noProof="0"/>
              <a:t>Click to add subheader</a:t>
            </a:r>
          </a:p>
        </p:txBody>
      </p:sp>
      <p:sp>
        <p:nvSpPr>
          <p:cNvPr id="10" name="Platshållare för text 9">
            <a:extLst>
              <a:ext uri="{FF2B5EF4-FFF2-40B4-BE49-F238E27FC236}">
                <a16:creationId xmlns:a16="http://schemas.microsoft.com/office/drawing/2014/main" id="{3A47C77C-C3F9-B141-87EA-F0CE7BF3172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88059" y="1758126"/>
            <a:ext cx="2732092" cy="2840048"/>
          </a:xfrm>
        </p:spPr>
        <p:txBody>
          <a:bodyPr lIns="216000" rIns="21600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Platshållare för sidfot 6">
            <a:extLst>
              <a:ext uri="{FF2B5EF4-FFF2-40B4-BE49-F238E27FC236}">
                <a16:creationId xmlns:a16="http://schemas.microsoft.com/office/drawing/2014/main" id="{2173EA1A-9025-DF4D-9E94-FCEDD41FAB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84887" y="4901296"/>
            <a:ext cx="2879823" cy="1152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 rtl="0">
              <a:defRPr sz="600">
                <a:solidFill>
                  <a:srgbClr val="737373"/>
                </a:solidFill>
              </a:defRPr>
            </a:lvl1pPr>
          </a:lstStyle>
          <a:p>
            <a:r>
              <a:rPr lang="en-US"/>
              <a:t>Go to header/footer to change text 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44332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wo Charts and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AA365270-CCB9-BB60-9E0E-7C5743B057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00188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7" imgH="277" progId="TCLayout.ActiveDocument.1">
                  <p:embed/>
                </p:oleObj>
              </mc:Choice>
              <mc:Fallback>
                <p:oleObj name="think-cell Folie" r:id="rId3" imgW="277" imgH="277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AA365270-CCB9-BB60-9E0E-7C5743B057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ktangel 16">
            <a:extLst>
              <a:ext uri="{FF2B5EF4-FFF2-40B4-BE49-F238E27FC236}">
                <a16:creationId xmlns:a16="http://schemas.microsoft.com/office/drawing/2014/main" id="{B9AB2759-9287-7F4F-9632-FB7BB2A7D5E4}"/>
              </a:ext>
            </a:extLst>
          </p:cNvPr>
          <p:cNvSpPr/>
          <p:nvPr userDrawn="1"/>
        </p:nvSpPr>
        <p:spPr>
          <a:xfrm>
            <a:off x="179388" y="158750"/>
            <a:ext cx="5761037" cy="468153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C57FF860-80C4-F544-9349-277B28F447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D69379FE-49CA-47E2-A0F7-85F31BBA4C33}" type="datetime1">
              <a:rPr lang="en-US" smtClean="0"/>
              <a:pPr/>
              <a:t>8/29/2025</a:t>
            </a:fld>
            <a:endParaRPr lang="en-US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61938E86-6CF5-9C42-AB2F-96E9B547A11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17CD396C-6A52-4D5A-BAE3-92A1CC3BBDE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Platshållare för text 15">
            <a:extLst>
              <a:ext uri="{FF2B5EF4-FFF2-40B4-BE49-F238E27FC236}">
                <a16:creationId xmlns:a16="http://schemas.microsoft.com/office/drawing/2014/main" id="{03424855-B277-8744-9C85-9975925B820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3849" y="276226"/>
            <a:ext cx="5614303" cy="276999"/>
          </a:xfrm>
        </p:spPr>
        <p:txBody>
          <a:bodyPr lIns="111600" rIns="216000" anchor="t"/>
          <a:lstStyle>
            <a:lvl1pPr marL="3175" indent="-3175" rtl="0">
              <a:buNone/>
              <a:tabLst/>
              <a:defRPr sz="12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add navigation/subheader</a:t>
            </a:r>
          </a:p>
        </p:txBody>
      </p:sp>
      <p:sp>
        <p:nvSpPr>
          <p:cNvPr id="19" name="Platshållare för text 18">
            <a:extLst>
              <a:ext uri="{FF2B5EF4-FFF2-40B4-BE49-F238E27FC236}">
                <a16:creationId xmlns:a16="http://schemas.microsoft.com/office/drawing/2014/main" id="{4615DFA7-0616-B744-975C-88C9447A199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3847" y="4611600"/>
            <a:ext cx="5614303" cy="142886"/>
          </a:xfrm>
        </p:spPr>
        <p:txBody>
          <a:bodyPr lIns="111600" tIns="0" rIns="216000" bIns="0" anchor="ctr"/>
          <a:lstStyle>
            <a:lvl1pPr rtl="0">
              <a:buNone/>
              <a:defRPr sz="600"/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/>
            <a:r>
              <a:rPr lang="en-US" noProof="0"/>
              <a:t>*Click to add footnotes</a:t>
            </a:r>
          </a:p>
        </p:txBody>
      </p:sp>
      <p:sp>
        <p:nvSpPr>
          <p:cNvPr id="22" name="Platshållare för diagram 3">
            <a:extLst>
              <a:ext uri="{FF2B5EF4-FFF2-40B4-BE49-F238E27FC236}">
                <a16:creationId xmlns:a16="http://schemas.microsoft.com/office/drawing/2014/main" id="{C416A6EE-D97D-0D43-917F-3B0293FCF6E8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323850" y="1716712"/>
            <a:ext cx="2733334" cy="2881463"/>
          </a:xfrm>
        </p:spPr>
        <p:txBody>
          <a:bodyPr/>
          <a:lstStyle>
            <a:lvl1pPr algn="ctr" rtl="0">
              <a:buNone/>
              <a:defRPr sz="800"/>
            </a:lvl1pPr>
          </a:lstStyle>
          <a:p>
            <a:r>
              <a:rPr lang="en-US" noProof="0"/>
              <a:t>Click on the icon to add chart</a:t>
            </a:r>
          </a:p>
        </p:txBody>
      </p:sp>
      <p:sp>
        <p:nvSpPr>
          <p:cNvPr id="10" name="Platshållare för text 9">
            <a:extLst>
              <a:ext uri="{FF2B5EF4-FFF2-40B4-BE49-F238E27FC236}">
                <a16:creationId xmlns:a16="http://schemas.microsoft.com/office/drawing/2014/main" id="{3A47C77C-C3F9-B141-87EA-F0CE7BF3172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88058" y="1758507"/>
            <a:ext cx="2732092" cy="2839668"/>
          </a:xfrm>
        </p:spPr>
        <p:txBody>
          <a:bodyPr lIns="216000" rIns="21600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Platshållare för diagram 3">
            <a:extLst>
              <a:ext uri="{FF2B5EF4-FFF2-40B4-BE49-F238E27FC236}">
                <a16:creationId xmlns:a16="http://schemas.microsoft.com/office/drawing/2014/main" id="{C435EF76-3305-C143-8829-2108851DBC6F}"/>
              </a:ext>
            </a:extLst>
          </p:cNvPr>
          <p:cNvSpPr>
            <a:spLocks noGrp="1"/>
          </p:cNvSpPr>
          <p:nvPr>
            <p:ph type="chart" sz="quarter" idx="23" hasCustomPrompt="1"/>
          </p:nvPr>
        </p:nvSpPr>
        <p:spPr>
          <a:xfrm>
            <a:off x="3204820" y="1716712"/>
            <a:ext cx="2733334" cy="2881463"/>
          </a:xfrm>
        </p:spPr>
        <p:txBody>
          <a:bodyPr/>
          <a:lstStyle>
            <a:lvl1pPr algn="ctr" rtl="0">
              <a:buNone/>
              <a:defRPr sz="800"/>
            </a:lvl1pPr>
          </a:lstStyle>
          <a:p>
            <a:r>
              <a:rPr lang="en-US" noProof="0"/>
              <a:t>Click on the icon to add chart</a:t>
            </a:r>
          </a:p>
        </p:txBody>
      </p:sp>
      <p:sp>
        <p:nvSpPr>
          <p:cNvPr id="16" name="Rubrik 1">
            <a:extLst>
              <a:ext uri="{FF2B5EF4-FFF2-40B4-BE49-F238E27FC236}">
                <a16:creationId xmlns:a16="http://schemas.microsoft.com/office/drawing/2014/main" id="{29C1BAB5-302C-E24B-AF46-F5810100CE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850" y="545326"/>
            <a:ext cx="5614303" cy="741454"/>
          </a:xfrm>
        </p:spPr>
        <p:txBody>
          <a:bodyPr vert="horz" rIns="216000"/>
          <a:lstStyle>
            <a:lvl1pPr rtl="0">
              <a:defRPr spc="-50" baseline="0"/>
            </a:lvl1pPr>
          </a:lstStyle>
          <a:p>
            <a:r>
              <a:rPr lang="en-US" noProof="0"/>
              <a:t>Click to add a headline of maximum two lines</a:t>
            </a:r>
          </a:p>
        </p:txBody>
      </p:sp>
      <p:sp>
        <p:nvSpPr>
          <p:cNvPr id="21" name="Platshållare för text 16">
            <a:extLst>
              <a:ext uri="{FF2B5EF4-FFF2-40B4-BE49-F238E27FC236}">
                <a16:creationId xmlns:a16="http://schemas.microsoft.com/office/drawing/2014/main" id="{57967130-C256-E443-BF6D-9CFC31CE5F7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3848" y="1360488"/>
            <a:ext cx="5614303" cy="307568"/>
          </a:xfrm>
        </p:spPr>
        <p:txBody>
          <a:bodyPr lIns="97200" rIns="216000"/>
          <a:lstStyle>
            <a:lvl1pPr marL="0" indent="0" algn="l" rtl="0">
              <a:lnSpc>
                <a:spcPct val="95000"/>
              </a:lnSpc>
              <a:spcBef>
                <a:spcPts val="0"/>
              </a:spcBef>
              <a:buNone/>
              <a:tabLst/>
              <a:defRPr sz="1200" b="1" spc="0" baseline="0"/>
            </a:lvl1pPr>
            <a:lvl2pPr marL="14288" indent="0" algn="ctr">
              <a:tabLst/>
              <a:defRPr/>
            </a:lvl2pPr>
            <a:lvl3pPr marL="14288" indent="0" algn="ctr">
              <a:tabLst/>
              <a:defRPr/>
            </a:lvl3pPr>
            <a:lvl4pPr marL="14288" indent="0" algn="ctr">
              <a:tabLst/>
              <a:defRPr/>
            </a:lvl4pPr>
            <a:lvl5pPr marL="14288" indent="0" algn="ctr">
              <a:tabLst/>
              <a:defRPr/>
            </a:lvl5pPr>
          </a:lstStyle>
          <a:p>
            <a:pPr lvl="0"/>
            <a:r>
              <a:rPr lang="en-US" noProof="0"/>
              <a:t>Click to add subheader</a:t>
            </a:r>
          </a:p>
        </p:txBody>
      </p:sp>
      <p:sp>
        <p:nvSpPr>
          <p:cNvPr id="24" name="Platshållare för text 16">
            <a:extLst>
              <a:ext uri="{FF2B5EF4-FFF2-40B4-BE49-F238E27FC236}">
                <a16:creationId xmlns:a16="http://schemas.microsoft.com/office/drawing/2014/main" id="{C8438C09-FD66-224E-AF0B-31D8EABA1AD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88061" y="1360488"/>
            <a:ext cx="2732090" cy="305634"/>
          </a:xfrm>
        </p:spPr>
        <p:txBody>
          <a:bodyPr lIns="216000" rIns="216000"/>
          <a:lstStyle>
            <a:lvl1pPr marL="0" indent="0" algn="l" rtl="0">
              <a:lnSpc>
                <a:spcPct val="95000"/>
              </a:lnSpc>
              <a:spcBef>
                <a:spcPts val="0"/>
              </a:spcBef>
              <a:buNone/>
              <a:tabLst/>
              <a:defRPr sz="1200" b="1" spc="0" baseline="0"/>
            </a:lvl1pPr>
            <a:lvl2pPr marL="14288" indent="0" algn="ctr">
              <a:tabLst/>
              <a:defRPr/>
            </a:lvl2pPr>
            <a:lvl3pPr marL="14288" indent="0" algn="ctr">
              <a:tabLst/>
              <a:defRPr/>
            </a:lvl3pPr>
            <a:lvl4pPr marL="14288" indent="0" algn="ctr">
              <a:tabLst/>
              <a:defRPr/>
            </a:lvl4pPr>
            <a:lvl5pPr marL="14288" indent="0" algn="ctr">
              <a:tabLst/>
              <a:defRPr/>
            </a:lvl5pPr>
          </a:lstStyle>
          <a:p>
            <a:pPr lvl="0"/>
            <a:r>
              <a:rPr lang="en-US" noProof="0"/>
              <a:t>Click to add subheader</a:t>
            </a:r>
          </a:p>
        </p:txBody>
      </p:sp>
      <p:sp>
        <p:nvSpPr>
          <p:cNvPr id="15" name="Platshållare för sidfot 6">
            <a:extLst>
              <a:ext uri="{FF2B5EF4-FFF2-40B4-BE49-F238E27FC236}">
                <a16:creationId xmlns:a16="http://schemas.microsoft.com/office/drawing/2014/main" id="{0A23D4E7-7D10-3848-B960-D1C565A39F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84887" y="4901296"/>
            <a:ext cx="2879823" cy="1152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 rtl="0">
              <a:defRPr sz="600">
                <a:solidFill>
                  <a:srgbClr val="737373"/>
                </a:solidFill>
              </a:defRPr>
            </a:lvl1pPr>
          </a:lstStyle>
          <a:p>
            <a:r>
              <a:rPr lang="en-US"/>
              <a:t>Go to header/footer to change text 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42918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Mix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2371A30D-B04F-34FF-7782-815E15977C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64954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7" imgH="277" progId="TCLayout.ActiveDocument.1">
                  <p:embed/>
                </p:oleObj>
              </mc:Choice>
              <mc:Fallback>
                <p:oleObj name="think-cell Folie" r:id="rId3" imgW="277" imgH="277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2371A30D-B04F-34FF-7782-815E15977C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ktangel 16">
            <a:extLst>
              <a:ext uri="{FF2B5EF4-FFF2-40B4-BE49-F238E27FC236}">
                <a16:creationId xmlns:a16="http://schemas.microsoft.com/office/drawing/2014/main" id="{B9AB2759-9287-7F4F-9632-FB7BB2A7D5E4}"/>
              </a:ext>
            </a:extLst>
          </p:cNvPr>
          <p:cNvSpPr/>
          <p:nvPr userDrawn="1"/>
        </p:nvSpPr>
        <p:spPr>
          <a:xfrm>
            <a:off x="179388" y="158750"/>
            <a:ext cx="5761037" cy="468153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C57FF860-80C4-F544-9349-277B28F447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9DD0DCF6-4C62-444B-AF72-51783FEE79EF}" type="datetime1">
              <a:rPr lang="en-US" smtClean="0"/>
              <a:pPr/>
              <a:t>8/29/2025</a:t>
            </a:fld>
            <a:endParaRPr lang="en-US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61938E86-6CF5-9C42-AB2F-96E9B547A11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17CD396C-6A52-4D5A-BAE3-92A1CC3BBDE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Platshållare för text 15">
            <a:extLst>
              <a:ext uri="{FF2B5EF4-FFF2-40B4-BE49-F238E27FC236}">
                <a16:creationId xmlns:a16="http://schemas.microsoft.com/office/drawing/2014/main" id="{03424855-B277-8744-9C85-9975925B820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3850" y="276226"/>
            <a:ext cx="5616574" cy="276999"/>
          </a:xfrm>
        </p:spPr>
        <p:txBody>
          <a:bodyPr lIns="111600" rIns="216000" anchor="t"/>
          <a:lstStyle>
            <a:lvl1pPr marL="3175" indent="-3175" rtl="0">
              <a:buNone/>
              <a:tabLst/>
              <a:defRPr sz="12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add navigation/subheader</a:t>
            </a:r>
          </a:p>
        </p:txBody>
      </p:sp>
      <p:sp>
        <p:nvSpPr>
          <p:cNvPr id="19" name="Platshållare för text 18">
            <a:extLst>
              <a:ext uri="{FF2B5EF4-FFF2-40B4-BE49-F238E27FC236}">
                <a16:creationId xmlns:a16="http://schemas.microsoft.com/office/drawing/2014/main" id="{4615DFA7-0616-B744-975C-88C9447A199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3848" y="4611600"/>
            <a:ext cx="5414400" cy="142886"/>
          </a:xfrm>
        </p:spPr>
        <p:txBody>
          <a:bodyPr lIns="111600" tIns="0" bIns="0" anchor="ctr"/>
          <a:lstStyle>
            <a:lvl1pPr rtl="0">
              <a:buNone/>
              <a:defRPr sz="600"/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/>
            <a:r>
              <a:rPr lang="en-US" noProof="0"/>
              <a:t>*Click to add footnotes</a:t>
            </a:r>
          </a:p>
        </p:txBody>
      </p:sp>
      <p:sp>
        <p:nvSpPr>
          <p:cNvPr id="16" name="Rubrik 1">
            <a:extLst>
              <a:ext uri="{FF2B5EF4-FFF2-40B4-BE49-F238E27FC236}">
                <a16:creationId xmlns:a16="http://schemas.microsoft.com/office/drawing/2014/main" id="{29C1BAB5-302C-E24B-AF46-F5810100CE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851" y="545326"/>
            <a:ext cx="5616574" cy="741454"/>
          </a:xfrm>
        </p:spPr>
        <p:txBody>
          <a:bodyPr vert="horz" rIns="216000"/>
          <a:lstStyle>
            <a:lvl1pPr rtl="0">
              <a:defRPr spc="-50" baseline="0"/>
            </a:lvl1pPr>
          </a:lstStyle>
          <a:p>
            <a:r>
              <a:rPr lang="en-US" noProof="0"/>
              <a:t>Click to add a headline of maximum two lines</a:t>
            </a:r>
          </a:p>
        </p:txBody>
      </p:sp>
      <p:sp>
        <p:nvSpPr>
          <p:cNvPr id="21" name="Platshållare för text 16">
            <a:extLst>
              <a:ext uri="{FF2B5EF4-FFF2-40B4-BE49-F238E27FC236}">
                <a16:creationId xmlns:a16="http://schemas.microsoft.com/office/drawing/2014/main" id="{57967130-C256-E443-BF6D-9CFC31CE5F7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3850" y="1360488"/>
            <a:ext cx="5616574" cy="307568"/>
          </a:xfrm>
        </p:spPr>
        <p:txBody>
          <a:bodyPr lIns="97200" rIns="216000"/>
          <a:lstStyle>
            <a:lvl1pPr marL="0" indent="0" algn="l" rtl="0">
              <a:lnSpc>
                <a:spcPct val="95000"/>
              </a:lnSpc>
              <a:spcBef>
                <a:spcPts val="0"/>
              </a:spcBef>
              <a:buNone/>
              <a:tabLst/>
              <a:defRPr sz="1200" b="1" spc="0" baseline="0"/>
            </a:lvl1pPr>
            <a:lvl2pPr marL="14288" indent="0" algn="ctr">
              <a:tabLst/>
              <a:defRPr/>
            </a:lvl2pPr>
            <a:lvl3pPr marL="14288" indent="0" algn="ctr">
              <a:tabLst/>
              <a:defRPr/>
            </a:lvl3pPr>
            <a:lvl4pPr marL="14288" indent="0" algn="ctr">
              <a:tabLst/>
              <a:defRPr/>
            </a:lvl4pPr>
            <a:lvl5pPr marL="14288" indent="0" algn="ctr">
              <a:tabLst/>
              <a:defRPr/>
            </a:lvl5pPr>
          </a:lstStyle>
          <a:p>
            <a:pPr lvl="0"/>
            <a:r>
              <a:rPr lang="en-US" noProof="0"/>
              <a:t>Click to add subheader</a:t>
            </a:r>
          </a:p>
        </p:txBody>
      </p:sp>
      <p:sp>
        <p:nvSpPr>
          <p:cNvPr id="24" name="Platshållare för text 16">
            <a:extLst>
              <a:ext uri="{FF2B5EF4-FFF2-40B4-BE49-F238E27FC236}">
                <a16:creationId xmlns:a16="http://schemas.microsoft.com/office/drawing/2014/main" id="{C8438C09-FD66-224E-AF0B-31D8EABA1AD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84888" y="1360488"/>
            <a:ext cx="2738433" cy="305634"/>
          </a:xfrm>
        </p:spPr>
        <p:txBody>
          <a:bodyPr lIns="216000" rIns="216000"/>
          <a:lstStyle>
            <a:lvl1pPr marL="0" indent="0" algn="l" rtl="0">
              <a:lnSpc>
                <a:spcPct val="95000"/>
              </a:lnSpc>
              <a:spcBef>
                <a:spcPts val="0"/>
              </a:spcBef>
              <a:buNone/>
              <a:tabLst/>
              <a:defRPr sz="1200" b="1" spc="0" baseline="0"/>
            </a:lvl1pPr>
            <a:lvl2pPr marL="14288" indent="0" algn="ctr">
              <a:tabLst/>
              <a:defRPr/>
            </a:lvl2pPr>
            <a:lvl3pPr marL="14288" indent="0" algn="ctr">
              <a:tabLst/>
              <a:defRPr/>
            </a:lvl3pPr>
            <a:lvl4pPr marL="14288" indent="0" algn="ctr">
              <a:tabLst/>
              <a:defRPr/>
            </a:lvl4pPr>
            <a:lvl5pPr marL="14288" indent="0" algn="ctr">
              <a:tabLst/>
              <a:defRPr/>
            </a:lvl5pPr>
          </a:lstStyle>
          <a:p>
            <a:pPr lvl="0"/>
            <a:r>
              <a:rPr lang="en-US" noProof="0"/>
              <a:t>Click to add subheader</a:t>
            </a:r>
          </a:p>
        </p:txBody>
      </p:sp>
      <p:sp>
        <p:nvSpPr>
          <p:cNvPr id="6" name="Platshållare för innehåll 5">
            <a:extLst>
              <a:ext uri="{FF2B5EF4-FFF2-40B4-BE49-F238E27FC236}">
                <a16:creationId xmlns:a16="http://schemas.microsoft.com/office/drawing/2014/main" id="{96AD6290-61E6-7C43-94B1-C5CC251D9CEF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323851" y="1758950"/>
            <a:ext cx="5414400" cy="283845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8" name="Platshållare för innehåll 5">
            <a:extLst>
              <a:ext uri="{FF2B5EF4-FFF2-40B4-BE49-F238E27FC236}">
                <a16:creationId xmlns:a16="http://schemas.microsoft.com/office/drawing/2014/main" id="{F809DA6C-D9F5-F441-A3F2-B90AA4BB7216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6084888" y="1758950"/>
            <a:ext cx="2735262" cy="2838450"/>
          </a:xfrm>
        </p:spPr>
        <p:txBody>
          <a:bodyPr lIns="216000" rIns="21600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Platshållare för sidfot 6">
            <a:extLst>
              <a:ext uri="{FF2B5EF4-FFF2-40B4-BE49-F238E27FC236}">
                <a16:creationId xmlns:a16="http://schemas.microsoft.com/office/drawing/2014/main" id="{8850475B-F6EB-0D47-B28D-D0F8DDA22E0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84887" y="4901296"/>
            <a:ext cx="2879823" cy="1152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 rtl="0">
              <a:defRPr sz="600">
                <a:solidFill>
                  <a:srgbClr val="737373"/>
                </a:solidFill>
              </a:defRPr>
            </a:lvl1pPr>
          </a:lstStyle>
          <a:p>
            <a:r>
              <a:rPr lang="en-US"/>
              <a:t>Go to header/footer to change text 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90619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and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FB56530A-488E-AB6D-624C-7CF9AB01B5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79279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7" imgH="277" progId="TCLayout.ActiveDocument.1">
                  <p:embed/>
                </p:oleObj>
              </mc:Choice>
              <mc:Fallback>
                <p:oleObj name="think-cell Folie" r:id="rId3" imgW="277" imgH="277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FB56530A-488E-AB6D-624C-7CF9AB01B5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ktangel 12">
            <a:extLst>
              <a:ext uri="{FF2B5EF4-FFF2-40B4-BE49-F238E27FC236}">
                <a16:creationId xmlns:a16="http://schemas.microsoft.com/office/drawing/2014/main" id="{08337292-D5AF-0645-B996-9DFFE335F520}"/>
              </a:ext>
            </a:extLst>
          </p:cNvPr>
          <p:cNvSpPr/>
          <p:nvPr userDrawn="1"/>
        </p:nvSpPr>
        <p:spPr>
          <a:xfrm>
            <a:off x="6084888" y="158751"/>
            <a:ext cx="2879724" cy="226853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14" name="Rektangel 13">
            <a:extLst>
              <a:ext uri="{FF2B5EF4-FFF2-40B4-BE49-F238E27FC236}">
                <a16:creationId xmlns:a16="http://schemas.microsoft.com/office/drawing/2014/main" id="{98758F95-3C10-B44C-BF5E-52F4621F954F}"/>
              </a:ext>
            </a:extLst>
          </p:cNvPr>
          <p:cNvSpPr/>
          <p:nvPr userDrawn="1"/>
        </p:nvSpPr>
        <p:spPr>
          <a:xfrm>
            <a:off x="6084888" y="2571750"/>
            <a:ext cx="2879724" cy="226853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17" name="Rektangel 16">
            <a:extLst>
              <a:ext uri="{FF2B5EF4-FFF2-40B4-BE49-F238E27FC236}">
                <a16:creationId xmlns:a16="http://schemas.microsoft.com/office/drawing/2014/main" id="{B9AB2759-9287-7F4F-9632-FB7BB2A7D5E4}"/>
              </a:ext>
            </a:extLst>
          </p:cNvPr>
          <p:cNvSpPr/>
          <p:nvPr userDrawn="1"/>
        </p:nvSpPr>
        <p:spPr>
          <a:xfrm>
            <a:off x="179388" y="158750"/>
            <a:ext cx="5761037" cy="468153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C57FF860-80C4-F544-9349-277B28F447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15F4557F-5537-48DE-BA96-2641721DAE2F}" type="datetime1">
              <a:rPr lang="en-US" smtClean="0"/>
              <a:pPr/>
              <a:t>8/29/2025</a:t>
            </a:fld>
            <a:endParaRPr lang="en-US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61938E86-6CF5-9C42-AB2F-96E9B547A11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17CD396C-6A52-4D5A-BAE3-92A1CC3BBDE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Platshållare för text 15">
            <a:extLst>
              <a:ext uri="{FF2B5EF4-FFF2-40B4-BE49-F238E27FC236}">
                <a16:creationId xmlns:a16="http://schemas.microsoft.com/office/drawing/2014/main" id="{03424855-B277-8744-9C85-9975925B820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3850" y="276226"/>
            <a:ext cx="5616574" cy="276999"/>
          </a:xfrm>
        </p:spPr>
        <p:txBody>
          <a:bodyPr lIns="111600" rIns="216000" anchor="t"/>
          <a:lstStyle>
            <a:lvl1pPr marL="3175" indent="-3175" rtl="0">
              <a:buNone/>
              <a:tabLst/>
              <a:defRPr sz="12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add navigation/subheader</a:t>
            </a:r>
          </a:p>
        </p:txBody>
      </p:sp>
      <p:sp>
        <p:nvSpPr>
          <p:cNvPr id="19" name="Platshållare för text 18">
            <a:extLst>
              <a:ext uri="{FF2B5EF4-FFF2-40B4-BE49-F238E27FC236}">
                <a16:creationId xmlns:a16="http://schemas.microsoft.com/office/drawing/2014/main" id="{4615DFA7-0616-B744-975C-88C9447A199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3847" y="4611600"/>
            <a:ext cx="5616573" cy="142886"/>
          </a:xfrm>
        </p:spPr>
        <p:txBody>
          <a:bodyPr lIns="111600" tIns="0" rIns="216000" bIns="0" anchor="ctr"/>
          <a:lstStyle>
            <a:lvl1pPr rtl="0">
              <a:buNone/>
              <a:defRPr sz="600"/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/>
            <a:r>
              <a:rPr lang="en-US" noProof="0"/>
              <a:t>*Click to add footnotes</a:t>
            </a:r>
          </a:p>
        </p:txBody>
      </p:sp>
      <p:sp>
        <p:nvSpPr>
          <p:cNvPr id="16" name="Rubrik 1">
            <a:extLst>
              <a:ext uri="{FF2B5EF4-FFF2-40B4-BE49-F238E27FC236}">
                <a16:creationId xmlns:a16="http://schemas.microsoft.com/office/drawing/2014/main" id="{29C1BAB5-302C-E24B-AF46-F5810100CE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851" y="545326"/>
            <a:ext cx="5616574" cy="741454"/>
          </a:xfrm>
        </p:spPr>
        <p:txBody>
          <a:bodyPr vert="horz" rIns="216000"/>
          <a:lstStyle>
            <a:lvl1pPr rtl="0">
              <a:defRPr spc="-50" baseline="0"/>
            </a:lvl1pPr>
          </a:lstStyle>
          <a:p>
            <a:r>
              <a:rPr lang="en-US" noProof="0"/>
              <a:t>Click to add a headline of maximum two lines</a:t>
            </a:r>
          </a:p>
        </p:txBody>
      </p:sp>
      <p:sp>
        <p:nvSpPr>
          <p:cNvPr id="21" name="Platshållare för text 16">
            <a:extLst>
              <a:ext uri="{FF2B5EF4-FFF2-40B4-BE49-F238E27FC236}">
                <a16:creationId xmlns:a16="http://schemas.microsoft.com/office/drawing/2014/main" id="{57967130-C256-E443-BF6D-9CFC31CE5F7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3850" y="1360488"/>
            <a:ext cx="5616574" cy="307568"/>
          </a:xfrm>
        </p:spPr>
        <p:txBody>
          <a:bodyPr lIns="97200" rIns="216000"/>
          <a:lstStyle>
            <a:lvl1pPr marL="0" indent="0" algn="l" rtl="0">
              <a:lnSpc>
                <a:spcPct val="95000"/>
              </a:lnSpc>
              <a:spcBef>
                <a:spcPts val="0"/>
              </a:spcBef>
              <a:buNone/>
              <a:tabLst/>
              <a:defRPr sz="1200" b="1" spc="0" baseline="0"/>
            </a:lvl1pPr>
            <a:lvl2pPr marL="14288" indent="0" algn="ctr">
              <a:tabLst/>
              <a:defRPr/>
            </a:lvl2pPr>
            <a:lvl3pPr marL="14288" indent="0" algn="ctr">
              <a:tabLst/>
              <a:defRPr/>
            </a:lvl3pPr>
            <a:lvl4pPr marL="14288" indent="0" algn="ctr">
              <a:tabLst/>
              <a:defRPr/>
            </a:lvl4pPr>
            <a:lvl5pPr marL="14288" indent="0" algn="ctr">
              <a:tabLst/>
              <a:defRPr/>
            </a:lvl5pPr>
          </a:lstStyle>
          <a:p>
            <a:pPr lvl="0"/>
            <a:r>
              <a:rPr lang="en-US" noProof="0"/>
              <a:t>Click to add subheader</a:t>
            </a:r>
          </a:p>
        </p:txBody>
      </p:sp>
      <p:sp>
        <p:nvSpPr>
          <p:cNvPr id="24" name="Platshållare för text 16">
            <a:extLst>
              <a:ext uri="{FF2B5EF4-FFF2-40B4-BE49-F238E27FC236}">
                <a16:creationId xmlns:a16="http://schemas.microsoft.com/office/drawing/2014/main" id="{C8438C09-FD66-224E-AF0B-31D8EABA1AD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208745" y="1360488"/>
            <a:ext cx="2632010" cy="288000"/>
          </a:xfrm>
        </p:spPr>
        <p:txBody>
          <a:bodyPr lIns="144000" rIns="144000"/>
          <a:lstStyle>
            <a:lvl1pPr marL="0" indent="0" algn="ctr" rtl="0">
              <a:lnSpc>
                <a:spcPct val="95000"/>
              </a:lnSpc>
              <a:spcBef>
                <a:spcPts val="0"/>
              </a:spcBef>
              <a:buNone/>
              <a:tabLst/>
              <a:defRPr sz="1200" b="1" spc="0" baseline="0"/>
            </a:lvl1pPr>
            <a:lvl2pPr marL="14288" indent="0" algn="ctr">
              <a:tabLst/>
              <a:defRPr/>
            </a:lvl2pPr>
            <a:lvl3pPr marL="14288" indent="0" algn="ctr">
              <a:tabLst/>
              <a:defRPr/>
            </a:lvl3pPr>
            <a:lvl4pPr marL="14288" indent="0" algn="ctr">
              <a:tabLst/>
              <a:defRPr/>
            </a:lvl4pPr>
            <a:lvl5pPr marL="14288" indent="0" algn="ctr">
              <a:tabLst/>
              <a:defRPr/>
            </a:lvl5pPr>
          </a:lstStyle>
          <a:p>
            <a:pPr lvl="0"/>
            <a:r>
              <a:rPr lang="en-US" noProof="0"/>
              <a:t>Click to add headline</a:t>
            </a:r>
          </a:p>
        </p:txBody>
      </p:sp>
      <p:sp>
        <p:nvSpPr>
          <p:cNvPr id="6" name="Platshållare för innehåll 5">
            <a:extLst>
              <a:ext uri="{FF2B5EF4-FFF2-40B4-BE49-F238E27FC236}">
                <a16:creationId xmlns:a16="http://schemas.microsoft.com/office/drawing/2014/main" id="{96AD6290-61E6-7C43-94B1-C5CC251D9CEF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323851" y="1758126"/>
            <a:ext cx="5414400" cy="2838450"/>
          </a:xfrm>
        </p:spPr>
        <p:txBody>
          <a:bodyPr/>
          <a:lstStyle>
            <a:lvl1pPr rtl="0">
              <a:defRPr/>
            </a:lvl1pPr>
          </a:lstStyle>
          <a:p>
            <a:pPr lvl="0"/>
            <a:r>
              <a:rPr lang="en-US" noProof="0"/>
              <a:t>Click on the icons to add the desired content</a:t>
            </a:r>
          </a:p>
        </p:txBody>
      </p:sp>
      <p:sp>
        <p:nvSpPr>
          <p:cNvPr id="15" name="Platshållare för bild 2">
            <a:extLst>
              <a:ext uri="{FF2B5EF4-FFF2-40B4-BE49-F238E27FC236}">
                <a16:creationId xmlns:a16="http://schemas.microsoft.com/office/drawing/2014/main" id="{B473F1D6-8119-C945-A4CE-75EC5B5E69AD}"/>
              </a:ext>
            </a:extLst>
          </p:cNvPr>
          <p:cNvSpPr>
            <a:spLocks noGrp="1" noChangeAspect="1"/>
          </p:cNvSpPr>
          <p:nvPr>
            <p:ph type="pic" sz="quarter" idx="25" hasCustomPrompt="1"/>
          </p:nvPr>
        </p:nvSpPr>
        <p:spPr>
          <a:xfrm>
            <a:off x="7128750" y="457782"/>
            <a:ext cx="792000" cy="792000"/>
          </a:xfrm>
        </p:spPr>
        <p:txBody>
          <a:bodyPr/>
          <a:lstStyle>
            <a:lvl1pPr algn="ctr" rtl="0">
              <a:buNone/>
              <a:defRPr sz="600"/>
            </a:lvl1pPr>
          </a:lstStyle>
          <a:p>
            <a:r>
              <a:rPr lang="en-US" sz="800" noProof="0"/>
              <a:t>Click to add icon</a:t>
            </a:r>
            <a:endParaRPr lang="en-US" noProof="0"/>
          </a:p>
        </p:txBody>
      </p:sp>
      <p:sp>
        <p:nvSpPr>
          <p:cNvPr id="22" name="Platshållare för text 9">
            <a:extLst>
              <a:ext uri="{FF2B5EF4-FFF2-40B4-BE49-F238E27FC236}">
                <a16:creationId xmlns:a16="http://schemas.microsoft.com/office/drawing/2014/main" id="{2ED96B5D-39C3-F14C-9A9F-F2BAF38C780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08744" y="1658110"/>
            <a:ext cx="2632009" cy="594547"/>
          </a:xfrm>
        </p:spPr>
        <p:txBody>
          <a:bodyPr lIns="144000" rIns="144000"/>
          <a:lstStyle>
            <a:lvl1pPr marL="12700" indent="-12700" algn="ctr" rtl="0">
              <a:buNone/>
              <a:tabLst/>
              <a:defRPr/>
            </a:lvl1pPr>
            <a:lvl2pPr marL="12700" indent="-12700" algn="ctr">
              <a:buNone/>
              <a:tabLst/>
              <a:defRPr/>
            </a:lvl2pPr>
            <a:lvl3pPr marL="12700" indent="-12700" algn="ctr">
              <a:buNone/>
              <a:tabLst/>
              <a:defRPr/>
            </a:lvl3pPr>
            <a:lvl4pPr marL="12700" indent="-12700" algn="ctr">
              <a:buNone/>
              <a:tabLst/>
              <a:defRPr/>
            </a:lvl4pPr>
            <a:lvl5pPr marL="12700" indent="-12700" algn="ctr">
              <a:buNone/>
              <a:tabLst/>
              <a:defRPr/>
            </a:lvl5pPr>
          </a:lstStyle>
          <a:p>
            <a:pPr lvl="0"/>
            <a:r>
              <a:rPr lang="en-US" noProof="0"/>
              <a:t>Click to add short description text</a:t>
            </a:r>
          </a:p>
        </p:txBody>
      </p:sp>
      <p:sp>
        <p:nvSpPr>
          <p:cNvPr id="27" name="Platshållare för text 16">
            <a:extLst>
              <a:ext uri="{FF2B5EF4-FFF2-40B4-BE49-F238E27FC236}">
                <a16:creationId xmlns:a16="http://schemas.microsoft.com/office/drawing/2014/main" id="{546ABA3A-CF5D-CA4C-B009-E33DBE68879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08745" y="3760793"/>
            <a:ext cx="2632010" cy="288000"/>
          </a:xfrm>
        </p:spPr>
        <p:txBody>
          <a:bodyPr lIns="144000" rIns="144000"/>
          <a:lstStyle>
            <a:lvl1pPr marL="0" indent="0" algn="ctr" rtl="0">
              <a:lnSpc>
                <a:spcPct val="95000"/>
              </a:lnSpc>
              <a:spcBef>
                <a:spcPts val="0"/>
              </a:spcBef>
              <a:buNone/>
              <a:tabLst/>
              <a:defRPr sz="1200" b="1" spc="0" baseline="0"/>
            </a:lvl1pPr>
            <a:lvl2pPr marL="14288" indent="0" algn="ctr">
              <a:tabLst/>
              <a:defRPr/>
            </a:lvl2pPr>
            <a:lvl3pPr marL="14288" indent="0" algn="ctr">
              <a:tabLst/>
              <a:defRPr/>
            </a:lvl3pPr>
            <a:lvl4pPr marL="14288" indent="0" algn="ctr">
              <a:tabLst/>
              <a:defRPr/>
            </a:lvl4pPr>
            <a:lvl5pPr marL="14288" indent="0" algn="ctr">
              <a:tabLst/>
              <a:defRPr/>
            </a:lvl5pPr>
          </a:lstStyle>
          <a:p>
            <a:pPr lvl="0"/>
            <a:r>
              <a:rPr lang="en-US" noProof="0"/>
              <a:t>Click to add headline</a:t>
            </a:r>
          </a:p>
        </p:txBody>
      </p:sp>
      <p:sp>
        <p:nvSpPr>
          <p:cNvPr id="28" name="Platshållare för bild 2">
            <a:extLst>
              <a:ext uri="{FF2B5EF4-FFF2-40B4-BE49-F238E27FC236}">
                <a16:creationId xmlns:a16="http://schemas.microsoft.com/office/drawing/2014/main" id="{7EEFDE69-B589-2A48-BD46-9F307DEDE342}"/>
              </a:ext>
            </a:extLst>
          </p:cNvPr>
          <p:cNvSpPr>
            <a:spLocks noGrp="1" noChangeAspect="1"/>
          </p:cNvSpPr>
          <p:nvPr>
            <p:ph type="pic" sz="quarter" idx="27" hasCustomPrompt="1"/>
          </p:nvPr>
        </p:nvSpPr>
        <p:spPr>
          <a:xfrm>
            <a:off x="7128750" y="2858087"/>
            <a:ext cx="792000" cy="792000"/>
          </a:xfrm>
        </p:spPr>
        <p:txBody>
          <a:bodyPr/>
          <a:lstStyle>
            <a:lvl1pPr algn="ctr" rtl="0">
              <a:buNone/>
              <a:defRPr sz="600"/>
            </a:lvl1pPr>
          </a:lstStyle>
          <a:p>
            <a:r>
              <a:rPr lang="en-US" sz="800" noProof="0"/>
              <a:t>Click to add icon</a:t>
            </a:r>
            <a:endParaRPr lang="en-US" noProof="0"/>
          </a:p>
        </p:txBody>
      </p:sp>
      <p:sp>
        <p:nvSpPr>
          <p:cNvPr id="29" name="Platshållare för text 9">
            <a:extLst>
              <a:ext uri="{FF2B5EF4-FFF2-40B4-BE49-F238E27FC236}">
                <a16:creationId xmlns:a16="http://schemas.microsoft.com/office/drawing/2014/main" id="{8AD11E1B-1A93-F447-B8FB-7690D5880F0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208744" y="4058415"/>
            <a:ext cx="2632009" cy="594547"/>
          </a:xfrm>
        </p:spPr>
        <p:txBody>
          <a:bodyPr lIns="144000" rIns="144000"/>
          <a:lstStyle>
            <a:lvl1pPr marL="12700" indent="-12700" algn="ctr" rtl="0">
              <a:buNone/>
              <a:tabLst/>
              <a:defRPr/>
            </a:lvl1pPr>
            <a:lvl2pPr marL="12700" indent="-12700" algn="ctr">
              <a:buNone/>
              <a:tabLst/>
              <a:defRPr/>
            </a:lvl2pPr>
            <a:lvl3pPr marL="12700" indent="-12700" algn="ctr">
              <a:buNone/>
              <a:tabLst/>
              <a:defRPr/>
            </a:lvl3pPr>
            <a:lvl4pPr marL="12700" indent="-12700" algn="ctr">
              <a:buNone/>
              <a:tabLst/>
              <a:defRPr/>
            </a:lvl4pPr>
            <a:lvl5pPr marL="12700" indent="-12700" algn="ctr">
              <a:buNone/>
              <a:tabLst/>
              <a:defRPr/>
            </a:lvl5pPr>
          </a:lstStyle>
          <a:p>
            <a:pPr lvl="0"/>
            <a:r>
              <a:rPr lang="en-US" noProof="0"/>
              <a:t>Click to add short description text</a:t>
            </a:r>
          </a:p>
        </p:txBody>
      </p:sp>
      <p:sp>
        <p:nvSpPr>
          <p:cNvPr id="23" name="Platshållare för sidfot 6">
            <a:extLst>
              <a:ext uri="{FF2B5EF4-FFF2-40B4-BE49-F238E27FC236}">
                <a16:creationId xmlns:a16="http://schemas.microsoft.com/office/drawing/2014/main" id="{10325E5A-E337-E24F-A3CE-5BEFB07CBA1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84887" y="4901296"/>
            <a:ext cx="2879823" cy="1152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 rtl="0">
              <a:defRPr sz="600">
                <a:solidFill>
                  <a:srgbClr val="737373"/>
                </a:solidFill>
              </a:defRPr>
            </a:lvl1pPr>
          </a:lstStyle>
          <a:p>
            <a:r>
              <a:rPr lang="en-US"/>
              <a:t>Go to header/footer to change text 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16050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67C70EE-D535-9E4A-7CA8-6631286262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995243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7" imgH="277" progId="TCLayout.ActiveDocument.1">
                  <p:embed/>
                </p:oleObj>
              </mc:Choice>
              <mc:Fallback>
                <p:oleObj name="think-cell Folie" r:id="rId3" imgW="277" imgH="277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67C70EE-D535-9E4A-7CA8-6631286262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38CA3AD7-12F8-9F43-820D-33071C26D41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287" y="4901296"/>
            <a:ext cx="2948826" cy="1152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 rtl="0">
              <a:defRPr sz="600" b="0">
                <a:solidFill>
                  <a:srgbClr val="737373"/>
                </a:solidFill>
              </a:defRPr>
            </a:lvl1pPr>
          </a:lstStyle>
          <a:p>
            <a:fld id="{26D0B1FD-11C9-4960-910B-C4E36DF981C8}" type="datetime1">
              <a:rPr lang="en-US" smtClean="0"/>
              <a:pPr/>
              <a:t>8/29/2025</a:t>
            </a:fld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DFED6C3B-4A73-344C-A9A5-F822417888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40418" y="5003474"/>
            <a:ext cx="324294" cy="8245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 rtl="0">
              <a:defRPr sz="600" b="0">
                <a:solidFill>
                  <a:srgbClr val="737373"/>
                </a:solidFill>
              </a:defRPr>
            </a:lvl1pPr>
          </a:lstStyle>
          <a:p>
            <a:fld id="{17CD396C-6A52-4D5A-BAE3-92A1CC3BBDE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Platshållare för bild 2">
            <a:extLst>
              <a:ext uri="{FF2B5EF4-FFF2-40B4-BE49-F238E27FC236}">
                <a16:creationId xmlns:a16="http://schemas.microsoft.com/office/drawing/2014/main" id="{25798999-2A1E-2547-A8D5-4373B7132ADB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79388" y="158750"/>
            <a:ext cx="8785322" cy="4681538"/>
          </a:xfrm>
          <a:blipFill dpi="0" rotWithShape="1">
            <a:blip r:embed="rId5"/>
            <a:srcRect/>
            <a:tile tx="0" ty="0" sx="100000" sy="100000" flip="none" algn="tl"/>
          </a:blipFill>
        </p:spPr>
        <p:txBody>
          <a:bodyPr/>
          <a:lstStyle>
            <a:lvl1pPr algn="ctr" rtl="0">
              <a:buNone/>
              <a:defRPr sz="8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en-US" noProof="0"/>
              <a:t>Click on the icon to add an image</a:t>
            </a:r>
          </a:p>
        </p:txBody>
      </p:sp>
      <p:sp>
        <p:nvSpPr>
          <p:cNvPr id="6" name="Rubrik 5">
            <a:extLst>
              <a:ext uri="{FF2B5EF4-FFF2-40B4-BE49-F238E27FC236}">
                <a16:creationId xmlns:a16="http://schemas.microsoft.com/office/drawing/2014/main" id="{D70BF8E9-745F-E646-8ACE-EA0841D80D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0" y="1719827"/>
            <a:ext cx="8496000" cy="1560972"/>
          </a:xfrm>
        </p:spPr>
        <p:txBody>
          <a:bodyPr vert="horz" lIns="216000" rIns="216000" anchor="ctr"/>
          <a:lstStyle>
            <a:lvl1pPr algn="ctr" rtl="0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add documentation title in two rows</a:t>
            </a:r>
          </a:p>
        </p:txBody>
      </p:sp>
      <p:sp>
        <p:nvSpPr>
          <p:cNvPr id="15" name="Platshållare för text 14">
            <a:extLst>
              <a:ext uri="{FF2B5EF4-FFF2-40B4-BE49-F238E27FC236}">
                <a16:creationId xmlns:a16="http://schemas.microsoft.com/office/drawing/2014/main" id="{454F8E95-426A-F348-AA14-06D4E6F905A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03575" y="3307557"/>
            <a:ext cx="2736850" cy="715803"/>
          </a:xfrm>
        </p:spPr>
        <p:txBody>
          <a:bodyPr lIns="144000" rIns="144000" anchor="t"/>
          <a:lstStyle>
            <a:lvl1pPr marL="0" indent="-12700" algn="ctr" rtl="0">
              <a:lnSpc>
                <a:spcPct val="95000"/>
              </a:lnSpc>
              <a:spcBef>
                <a:spcPts val="0"/>
              </a:spcBef>
              <a:buNone/>
              <a:tabLst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add Name of presenter, job title and current date</a:t>
            </a:r>
          </a:p>
        </p:txBody>
      </p:sp>
      <p:sp>
        <p:nvSpPr>
          <p:cNvPr id="9" name="Platshållare för sidfot 6">
            <a:extLst>
              <a:ext uri="{FF2B5EF4-FFF2-40B4-BE49-F238E27FC236}">
                <a16:creationId xmlns:a16="http://schemas.microsoft.com/office/drawing/2014/main" id="{305B99F1-F53B-3642-BB22-B83D0965B61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84887" y="4901296"/>
            <a:ext cx="2879823" cy="1152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 rtl="0">
              <a:defRPr sz="600">
                <a:solidFill>
                  <a:srgbClr val="737373"/>
                </a:solidFill>
              </a:defRPr>
            </a:lvl1pPr>
          </a:lstStyle>
          <a:p>
            <a:r>
              <a:rPr lang="en-US"/>
              <a:t>Go to header/footer to change text 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47328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Large Char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F8ABC751-7924-BEC9-D75B-654BEF3481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79856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7" imgH="277" progId="TCLayout.ActiveDocument.1">
                  <p:embed/>
                </p:oleObj>
              </mc:Choice>
              <mc:Fallback>
                <p:oleObj name="think-cell Folie" r:id="rId3" imgW="277" imgH="277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F8ABC751-7924-BEC9-D75B-654BEF3481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C57FF860-80C4-F544-9349-277B28F447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6F947801-163A-4F43-9611-DED97D49FAF9}" type="datetime1">
              <a:rPr lang="en-US" smtClean="0"/>
              <a:pPr/>
              <a:t>8/29/2025</a:t>
            </a:fld>
            <a:endParaRPr lang="en-US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61938E86-6CF5-9C42-AB2F-96E9B547A11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17CD396C-6A52-4D5A-BAE3-92A1CC3BBDE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Platshållare för text 15">
            <a:extLst>
              <a:ext uri="{FF2B5EF4-FFF2-40B4-BE49-F238E27FC236}">
                <a16:creationId xmlns:a16="http://schemas.microsoft.com/office/drawing/2014/main" id="{03424855-B277-8744-9C85-9975925B820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3849" y="276226"/>
            <a:ext cx="5616575" cy="276999"/>
          </a:xfrm>
        </p:spPr>
        <p:txBody>
          <a:bodyPr lIns="111600" rIns="216000" anchor="t"/>
          <a:lstStyle>
            <a:lvl1pPr marL="3175" indent="-3175" rtl="0">
              <a:buNone/>
              <a:tabLst/>
              <a:defRPr sz="12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add navigation/subheader</a:t>
            </a:r>
          </a:p>
        </p:txBody>
      </p:sp>
      <p:sp>
        <p:nvSpPr>
          <p:cNvPr id="19" name="Platshållare för text 18">
            <a:extLst>
              <a:ext uri="{FF2B5EF4-FFF2-40B4-BE49-F238E27FC236}">
                <a16:creationId xmlns:a16="http://schemas.microsoft.com/office/drawing/2014/main" id="{4615DFA7-0616-B744-975C-88C9447A199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3848" y="4611600"/>
            <a:ext cx="5414400" cy="142886"/>
          </a:xfrm>
        </p:spPr>
        <p:txBody>
          <a:bodyPr lIns="111600" tIns="0" bIns="0" anchor="ctr"/>
          <a:lstStyle>
            <a:lvl1pPr rtl="0">
              <a:buNone/>
              <a:defRPr sz="600"/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/>
            <a:r>
              <a:rPr lang="en-US" noProof="0"/>
              <a:t>*Click to add footnotes</a:t>
            </a:r>
          </a:p>
        </p:txBody>
      </p:sp>
      <p:sp>
        <p:nvSpPr>
          <p:cNvPr id="16" name="Rubrik 1">
            <a:extLst>
              <a:ext uri="{FF2B5EF4-FFF2-40B4-BE49-F238E27FC236}">
                <a16:creationId xmlns:a16="http://schemas.microsoft.com/office/drawing/2014/main" id="{29C1BAB5-302C-E24B-AF46-F5810100CE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850" y="545326"/>
            <a:ext cx="8496299" cy="741454"/>
          </a:xfrm>
        </p:spPr>
        <p:txBody>
          <a:bodyPr vert="horz" rIns="216000"/>
          <a:lstStyle>
            <a:lvl1pPr rtl="0">
              <a:defRPr spc="-50" baseline="0"/>
            </a:lvl1pPr>
          </a:lstStyle>
          <a:p>
            <a:r>
              <a:rPr lang="en-US" noProof="0"/>
              <a:t>Click to add a headline of maximum two lines</a:t>
            </a:r>
          </a:p>
        </p:txBody>
      </p:sp>
      <p:sp>
        <p:nvSpPr>
          <p:cNvPr id="21" name="Platshållare för text 16">
            <a:extLst>
              <a:ext uri="{FF2B5EF4-FFF2-40B4-BE49-F238E27FC236}">
                <a16:creationId xmlns:a16="http://schemas.microsoft.com/office/drawing/2014/main" id="{57967130-C256-E443-BF6D-9CFC31CE5F7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3850" y="1360488"/>
            <a:ext cx="4176713" cy="307568"/>
          </a:xfrm>
        </p:spPr>
        <p:txBody>
          <a:bodyPr lIns="97200" rIns="216000"/>
          <a:lstStyle>
            <a:lvl1pPr marL="0" indent="0" algn="l" rtl="0">
              <a:lnSpc>
                <a:spcPct val="95000"/>
              </a:lnSpc>
              <a:spcBef>
                <a:spcPts val="0"/>
              </a:spcBef>
              <a:buNone/>
              <a:tabLst/>
              <a:defRPr sz="1200" b="1" spc="0" baseline="0"/>
            </a:lvl1pPr>
            <a:lvl2pPr marL="14288" indent="0" algn="ctr">
              <a:tabLst/>
              <a:defRPr/>
            </a:lvl2pPr>
            <a:lvl3pPr marL="14288" indent="0" algn="ctr">
              <a:tabLst/>
              <a:defRPr/>
            </a:lvl3pPr>
            <a:lvl4pPr marL="14288" indent="0" algn="ctr">
              <a:tabLst/>
              <a:defRPr/>
            </a:lvl4pPr>
            <a:lvl5pPr marL="14288" indent="0" algn="ctr">
              <a:tabLst/>
              <a:defRPr/>
            </a:lvl5pPr>
          </a:lstStyle>
          <a:p>
            <a:pPr lvl="0"/>
            <a:r>
              <a:rPr lang="en-US" noProof="0"/>
              <a:t>Click to add subheader</a:t>
            </a:r>
          </a:p>
        </p:txBody>
      </p:sp>
      <p:sp>
        <p:nvSpPr>
          <p:cNvPr id="23" name="Platshållare för diagram 3">
            <a:extLst>
              <a:ext uri="{FF2B5EF4-FFF2-40B4-BE49-F238E27FC236}">
                <a16:creationId xmlns:a16="http://schemas.microsoft.com/office/drawing/2014/main" id="{C2B34B54-75E3-4847-A989-9D65BE064B07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323849" y="1716712"/>
            <a:ext cx="8496299" cy="2881463"/>
          </a:xfrm>
        </p:spPr>
        <p:txBody>
          <a:bodyPr/>
          <a:lstStyle>
            <a:lvl1pPr algn="ctr" rtl="0">
              <a:buNone/>
              <a:defRPr sz="800"/>
            </a:lvl1pPr>
          </a:lstStyle>
          <a:p>
            <a:r>
              <a:rPr lang="en-US" noProof="0"/>
              <a:t>Click on the icon to add chart</a:t>
            </a:r>
          </a:p>
        </p:txBody>
      </p:sp>
      <p:sp>
        <p:nvSpPr>
          <p:cNvPr id="11" name="Platshållare för sidfot 6">
            <a:extLst>
              <a:ext uri="{FF2B5EF4-FFF2-40B4-BE49-F238E27FC236}">
                <a16:creationId xmlns:a16="http://schemas.microsoft.com/office/drawing/2014/main" id="{9ADEEDE8-0D1B-9549-A4E1-0C71E9FA930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84887" y="4901296"/>
            <a:ext cx="2879823" cy="1152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 rtl="0">
              <a:defRPr sz="600">
                <a:solidFill>
                  <a:srgbClr val="737373"/>
                </a:solidFill>
              </a:defRPr>
            </a:lvl1pPr>
          </a:lstStyle>
          <a:p>
            <a:r>
              <a:rPr lang="en-US"/>
              <a:t>Go to header/footer to change text 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20724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Large Tabl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45FA5809-7377-6CFA-CC51-049E851B5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86876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7" imgH="277" progId="TCLayout.ActiveDocument.1">
                  <p:embed/>
                </p:oleObj>
              </mc:Choice>
              <mc:Fallback>
                <p:oleObj name="think-cell Folie" r:id="rId3" imgW="277" imgH="277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45FA5809-7377-6CFA-CC51-049E851B5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C57FF860-80C4-F544-9349-277B28F447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D9A7EB78-151D-4556-A4FD-29068E9AE52B}" type="datetime1">
              <a:rPr lang="en-US" smtClean="0"/>
              <a:pPr/>
              <a:t>8/29/2025</a:t>
            </a:fld>
            <a:endParaRPr lang="en-US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61938E86-6CF5-9C42-AB2F-96E9B547A11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17CD396C-6A52-4D5A-BAE3-92A1CC3BBDE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Platshållare för text 15">
            <a:extLst>
              <a:ext uri="{FF2B5EF4-FFF2-40B4-BE49-F238E27FC236}">
                <a16:creationId xmlns:a16="http://schemas.microsoft.com/office/drawing/2014/main" id="{03424855-B277-8744-9C85-9975925B820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3849" y="276226"/>
            <a:ext cx="5616575" cy="276999"/>
          </a:xfrm>
        </p:spPr>
        <p:txBody>
          <a:bodyPr lIns="111600" rIns="216000" anchor="t"/>
          <a:lstStyle>
            <a:lvl1pPr marL="3175" indent="-3175" rtl="0">
              <a:buNone/>
              <a:tabLst/>
              <a:defRPr sz="12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add navigation/subheader</a:t>
            </a:r>
          </a:p>
        </p:txBody>
      </p:sp>
      <p:sp>
        <p:nvSpPr>
          <p:cNvPr id="19" name="Platshållare för text 18">
            <a:extLst>
              <a:ext uri="{FF2B5EF4-FFF2-40B4-BE49-F238E27FC236}">
                <a16:creationId xmlns:a16="http://schemas.microsoft.com/office/drawing/2014/main" id="{4615DFA7-0616-B744-975C-88C9447A199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3848" y="4611600"/>
            <a:ext cx="5414400" cy="142886"/>
          </a:xfrm>
        </p:spPr>
        <p:txBody>
          <a:bodyPr lIns="111600" tIns="0" bIns="0" anchor="ctr"/>
          <a:lstStyle>
            <a:lvl1pPr rtl="0">
              <a:buNone/>
              <a:defRPr sz="600"/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/>
            <a:r>
              <a:rPr lang="en-US" noProof="0"/>
              <a:t>*Click to add footnotes</a:t>
            </a:r>
          </a:p>
        </p:txBody>
      </p:sp>
      <p:sp>
        <p:nvSpPr>
          <p:cNvPr id="16" name="Rubrik 1">
            <a:extLst>
              <a:ext uri="{FF2B5EF4-FFF2-40B4-BE49-F238E27FC236}">
                <a16:creationId xmlns:a16="http://schemas.microsoft.com/office/drawing/2014/main" id="{29C1BAB5-302C-E24B-AF46-F5810100CE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850" y="545326"/>
            <a:ext cx="8496299" cy="741454"/>
          </a:xfrm>
        </p:spPr>
        <p:txBody>
          <a:bodyPr vert="horz" rIns="216000"/>
          <a:lstStyle>
            <a:lvl1pPr rtl="0">
              <a:defRPr spc="-50" baseline="0"/>
            </a:lvl1pPr>
          </a:lstStyle>
          <a:p>
            <a:r>
              <a:rPr lang="en-US" noProof="0"/>
              <a:t>Click to add a headline of maximum two lines</a:t>
            </a:r>
          </a:p>
        </p:txBody>
      </p:sp>
      <p:sp>
        <p:nvSpPr>
          <p:cNvPr id="21" name="Platshållare för text 16">
            <a:extLst>
              <a:ext uri="{FF2B5EF4-FFF2-40B4-BE49-F238E27FC236}">
                <a16:creationId xmlns:a16="http://schemas.microsoft.com/office/drawing/2014/main" id="{57967130-C256-E443-BF6D-9CFC31CE5F7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3850" y="1360488"/>
            <a:ext cx="4176713" cy="307568"/>
          </a:xfrm>
        </p:spPr>
        <p:txBody>
          <a:bodyPr lIns="97200" rIns="216000"/>
          <a:lstStyle>
            <a:lvl1pPr marL="0" indent="0" algn="l" rtl="0">
              <a:lnSpc>
                <a:spcPct val="95000"/>
              </a:lnSpc>
              <a:spcBef>
                <a:spcPts val="0"/>
              </a:spcBef>
              <a:buNone/>
              <a:tabLst/>
              <a:defRPr sz="1200" b="1" spc="0" baseline="0"/>
            </a:lvl1pPr>
            <a:lvl2pPr marL="14288" indent="0" algn="ctr">
              <a:tabLst/>
              <a:defRPr/>
            </a:lvl2pPr>
            <a:lvl3pPr marL="14288" indent="0" algn="ctr">
              <a:tabLst/>
              <a:defRPr/>
            </a:lvl3pPr>
            <a:lvl4pPr marL="14288" indent="0" algn="ctr">
              <a:tabLst/>
              <a:defRPr/>
            </a:lvl4pPr>
            <a:lvl5pPr marL="14288" indent="0" algn="ctr">
              <a:tabLst/>
              <a:defRPr/>
            </a:lvl5pPr>
          </a:lstStyle>
          <a:p>
            <a:pPr lvl="0"/>
            <a:r>
              <a:rPr lang="en-US" noProof="0"/>
              <a:t>Click to add subheader</a:t>
            </a:r>
          </a:p>
        </p:txBody>
      </p:sp>
      <p:sp>
        <p:nvSpPr>
          <p:cNvPr id="6" name="Platshållare för tabell 5">
            <a:extLst>
              <a:ext uri="{FF2B5EF4-FFF2-40B4-BE49-F238E27FC236}">
                <a16:creationId xmlns:a16="http://schemas.microsoft.com/office/drawing/2014/main" id="{811F8CED-6808-7E46-91B7-C4DDE3339131}"/>
              </a:ext>
            </a:extLst>
          </p:cNvPr>
          <p:cNvSpPr>
            <a:spLocks noGrp="1"/>
          </p:cNvSpPr>
          <p:nvPr>
            <p:ph type="tbl" sz="quarter" idx="20" hasCustomPrompt="1"/>
          </p:nvPr>
        </p:nvSpPr>
        <p:spPr>
          <a:xfrm>
            <a:off x="323850" y="1718174"/>
            <a:ext cx="8496300" cy="2880000"/>
          </a:xfrm>
        </p:spPr>
        <p:txBody>
          <a:bodyPr/>
          <a:lstStyle>
            <a:lvl1pPr algn="ctr" rtl="0">
              <a:buNone/>
              <a:defRPr sz="800"/>
            </a:lvl1pPr>
          </a:lstStyle>
          <a:p>
            <a:r>
              <a:rPr lang="en-US" noProof="0"/>
              <a:t>Click on the icon to add table</a:t>
            </a:r>
          </a:p>
        </p:txBody>
      </p:sp>
      <p:sp>
        <p:nvSpPr>
          <p:cNvPr id="11" name="Platshållare för sidfot 6">
            <a:extLst>
              <a:ext uri="{FF2B5EF4-FFF2-40B4-BE49-F238E27FC236}">
                <a16:creationId xmlns:a16="http://schemas.microsoft.com/office/drawing/2014/main" id="{4E4579F6-66FC-3140-A0B3-75F166B051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84887" y="4901296"/>
            <a:ext cx="2879823" cy="1152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 rtl="0">
              <a:defRPr sz="600">
                <a:solidFill>
                  <a:srgbClr val="737373"/>
                </a:solidFill>
              </a:defRPr>
            </a:lvl1pPr>
          </a:lstStyle>
          <a:p>
            <a:r>
              <a:rPr lang="en-US"/>
              <a:t>Go to header/footer to change text 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15241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Headlin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6DEF2345-8EEB-371E-7081-742BAB54FF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93080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7" imgH="277" progId="TCLayout.ActiveDocument.1">
                  <p:embed/>
                </p:oleObj>
              </mc:Choice>
              <mc:Fallback>
                <p:oleObj name="think-cell Folie" r:id="rId3" imgW="277" imgH="277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6DEF2345-8EEB-371E-7081-742BAB54FF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C57FF860-80C4-F544-9349-277B28F447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BE61301C-CB51-4A0F-AA2E-180E073E4524}" type="datetime1">
              <a:rPr lang="en-US" smtClean="0"/>
              <a:pPr/>
              <a:t>8/29/2025</a:t>
            </a:fld>
            <a:endParaRPr lang="en-US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61938E86-6CF5-9C42-AB2F-96E9B547A11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17CD396C-6A52-4D5A-BAE3-92A1CC3BBDE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Platshållare för text 15">
            <a:extLst>
              <a:ext uri="{FF2B5EF4-FFF2-40B4-BE49-F238E27FC236}">
                <a16:creationId xmlns:a16="http://schemas.microsoft.com/office/drawing/2014/main" id="{03424855-B277-8744-9C85-9975925B820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3850" y="276226"/>
            <a:ext cx="5418000" cy="276999"/>
          </a:xfrm>
        </p:spPr>
        <p:txBody>
          <a:bodyPr lIns="111600" anchor="t"/>
          <a:lstStyle>
            <a:lvl1pPr marL="3175" indent="-3175" rtl="0">
              <a:buNone/>
              <a:tabLst/>
              <a:defRPr sz="12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add navigation/subheader</a:t>
            </a:r>
          </a:p>
        </p:txBody>
      </p:sp>
      <p:sp>
        <p:nvSpPr>
          <p:cNvPr id="19" name="Platshållare för text 18">
            <a:extLst>
              <a:ext uri="{FF2B5EF4-FFF2-40B4-BE49-F238E27FC236}">
                <a16:creationId xmlns:a16="http://schemas.microsoft.com/office/drawing/2014/main" id="{4615DFA7-0616-B744-975C-88C9447A199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3848" y="4611600"/>
            <a:ext cx="5616575" cy="142886"/>
          </a:xfrm>
        </p:spPr>
        <p:txBody>
          <a:bodyPr lIns="111600" tIns="0" rIns="216000" bIns="0" anchor="ctr"/>
          <a:lstStyle>
            <a:lvl1pPr rtl="0">
              <a:buNone/>
              <a:defRPr sz="600"/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/>
            <a:r>
              <a:rPr lang="en-US" noProof="0"/>
              <a:t>*Click to add footnotes</a:t>
            </a:r>
          </a:p>
        </p:txBody>
      </p:sp>
      <p:sp>
        <p:nvSpPr>
          <p:cNvPr id="16" name="Rubrik 1">
            <a:extLst>
              <a:ext uri="{FF2B5EF4-FFF2-40B4-BE49-F238E27FC236}">
                <a16:creationId xmlns:a16="http://schemas.microsoft.com/office/drawing/2014/main" id="{29C1BAB5-302C-E24B-AF46-F5810100CE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850" y="545326"/>
            <a:ext cx="8496299" cy="1182670"/>
          </a:xfrm>
        </p:spPr>
        <p:txBody>
          <a:bodyPr vert="horz"/>
          <a:lstStyle>
            <a:lvl1pPr rtl="0">
              <a:defRPr spc="-50" baseline="0"/>
            </a:lvl1pPr>
          </a:lstStyle>
          <a:p>
            <a:r>
              <a:rPr lang="en-US" noProof="0"/>
              <a:t>Click to add a headline of maximum three lines</a:t>
            </a:r>
          </a:p>
        </p:txBody>
      </p:sp>
      <p:sp>
        <p:nvSpPr>
          <p:cNvPr id="11" name="Platshållare för sidfot 6">
            <a:extLst>
              <a:ext uri="{FF2B5EF4-FFF2-40B4-BE49-F238E27FC236}">
                <a16:creationId xmlns:a16="http://schemas.microsoft.com/office/drawing/2014/main" id="{A552DAA9-741B-4541-B739-5E18BB32D2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84887" y="4901296"/>
            <a:ext cx="2879823" cy="1152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 rtl="0">
              <a:defRPr sz="600">
                <a:solidFill>
                  <a:srgbClr val="737373"/>
                </a:solidFill>
              </a:defRPr>
            </a:lvl1pPr>
          </a:lstStyle>
          <a:p>
            <a:r>
              <a:rPr lang="en-US"/>
              <a:t>Go to header/footer to change text 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10702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A37E90DF-B073-2608-258F-F1981A67A8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241015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7" imgH="277" progId="TCLayout.ActiveDocument.1">
                  <p:embed/>
                </p:oleObj>
              </mc:Choice>
              <mc:Fallback>
                <p:oleObj name="think-cell Folie" r:id="rId3" imgW="277" imgH="277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A37E90DF-B073-2608-258F-F1981A67A8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C57FF860-80C4-F544-9349-277B28F447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C283FB09-4668-4FB4-8002-5F773BA17380}" type="datetime1">
              <a:rPr lang="en-US" smtClean="0"/>
              <a:pPr/>
              <a:t>8/29/2025</a:t>
            </a:fld>
            <a:endParaRPr lang="en-US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61938E86-6CF5-9C42-AB2F-96E9B547A11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17CD396C-6A52-4D5A-BAE3-92A1CC3BBDE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Platshållare för text 15">
            <a:extLst>
              <a:ext uri="{FF2B5EF4-FFF2-40B4-BE49-F238E27FC236}">
                <a16:creationId xmlns:a16="http://schemas.microsoft.com/office/drawing/2014/main" id="{03424855-B277-8744-9C85-9975925B820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3850" y="276226"/>
            <a:ext cx="5418000" cy="276999"/>
          </a:xfrm>
        </p:spPr>
        <p:txBody>
          <a:bodyPr lIns="111600" rIns="216000" anchor="t"/>
          <a:lstStyle>
            <a:lvl1pPr marL="3175" indent="-3175" rtl="0">
              <a:buNone/>
              <a:tabLst/>
              <a:defRPr sz="12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add navigation/subheader</a:t>
            </a:r>
          </a:p>
        </p:txBody>
      </p:sp>
      <p:sp>
        <p:nvSpPr>
          <p:cNvPr id="19" name="Platshållare för text 18">
            <a:extLst>
              <a:ext uri="{FF2B5EF4-FFF2-40B4-BE49-F238E27FC236}">
                <a16:creationId xmlns:a16="http://schemas.microsoft.com/office/drawing/2014/main" id="{4615DFA7-0616-B744-975C-88C9447A199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3848" y="4611600"/>
            <a:ext cx="4176715" cy="142886"/>
          </a:xfrm>
        </p:spPr>
        <p:txBody>
          <a:bodyPr lIns="111600" tIns="0" rIns="216000" bIns="0" anchor="ctr"/>
          <a:lstStyle>
            <a:lvl1pPr rtl="0">
              <a:buNone/>
              <a:defRPr sz="600"/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/>
            <a:r>
              <a:rPr lang="en-US" noProof="0"/>
              <a:t>*Click to add footnotes</a:t>
            </a:r>
          </a:p>
        </p:txBody>
      </p:sp>
      <p:sp>
        <p:nvSpPr>
          <p:cNvPr id="16" name="Rubrik 1">
            <a:extLst>
              <a:ext uri="{FF2B5EF4-FFF2-40B4-BE49-F238E27FC236}">
                <a16:creationId xmlns:a16="http://schemas.microsoft.com/office/drawing/2014/main" id="{29C1BAB5-302C-E24B-AF46-F5810100CE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850" y="545326"/>
            <a:ext cx="8496299" cy="741454"/>
          </a:xfrm>
        </p:spPr>
        <p:txBody>
          <a:bodyPr vert="horz" rIns="216000"/>
          <a:lstStyle>
            <a:lvl1pPr rtl="0">
              <a:defRPr spc="-50" baseline="0"/>
            </a:lvl1pPr>
          </a:lstStyle>
          <a:p>
            <a:r>
              <a:rPr lang="en-US" noProof="0"/>
              <a:t>Click to add a headline of maximum two lines</a:t>
            </a:r>
          </a:p>
        </p:txBody>
      </p:sp>
      <p:sp>
        <p:nvSpPr>
          <p:cNvPr id="6" name="Platshållare för text 5">
            <a:extLst>
              <a:ext uri="{FF2B5EF4-FFF2-40B4-BE49-F238E27FC236}">
                <a16:creationId xmlns:a16="http://schemas.microsoft.com/office/drawing/2014/main" id="{945DB275-95E7-6348-973E-B426CFDD51F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22261" y="1447200"/>
            <a:ext cx="4178302" cy="3150974"/>
          </a:xfrm>
          <a:noFill/>
        </p:spPr>
        <p:txBody>
          <a:bodyPr lIns="108000" tIns="108000" rIns="216000" bIns="108000"/>
          <a:lstStyle>
            <a:lvl1pPr rtl="0">
              <a:buFont typeface="Arial" panose="020B0604020202020204" pitchFamily="34" charset="0"/>
              <a:buChar char="•"/>
              <a:defRPr/>
            </a:lvl1pPr>
            <a:lvl2pPr rtl="0">
              <a:buFont typeface="Arial" panose="020B0604020202020204" pitchFamily="34" charset="0"/>
              <a:buChar char="•"/>
              <a:defRPr/>
            </a:lvl2pPr>
            <a:lvl3pPr rtl="0">
              <a:buFont typeface="Arial" panose="020B0604020202020204" pitchFamily="34" charset="0"/>
              <a:buChar char="•"/>
              <a:defRPr/>
            </a:lvl3pPr>
            <a:lvl4pPr rtl="0">
              <a:buFont typeface="Arial" panose="020B0604020202020204" pitchFamily="34" charset="0"/>
              <a:buChar char="•"/>
              <a:defRPr/>
            </a:lvl4pPr>
            <a:lvl5pPr rtl="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0" name="Platshållare för text 5">
            <a:extLst>
              <a:ext uri="{FF2B5EF4-FFF2-40B4-BE49-F238E27FC236}">
                <a16:creationId xmlns:a16="http://schemas.microsoft.com/office/drawing/2014/main" id="{5BBFE38F-ECD3-C344-8099-787A3CDE816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643438" y="1447200"/>
            <a:ext cx="4178302" cy="3150974"/>
          </a:xfrm>
          <a:noFill/>
        </p:spPr>
        <p:txBody>
          <a:bodyPr lIns="108000" tIns="108000" rIns="216000" bIns="10800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Platshållare för sidfot 6">
            <a:extLst>
              <a:ext uri="{FF2B5EF4-FFF2-40B4-BE49-F238E27FC236}">
                <a16:creationId xmlns:a16="http://schemas.microsoft.com/office/drawing/2014/main" id="{1EE3E70A-BC06-5843-AB7C-05C92A50E43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84887" y="4901296"/>
            <a:ext cx="2879823" cy="1152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 rtl="0">
              <a:defRPr sz="600">
                <a:solidFill>
                  <a:srgbClr val="737373"/>
                </a:solidFill>
              </a:defRPr>
            </a:lvl1pPr>
          </a:lstStyle>
          <a:p>
            <a:r>
              <a:rPr lang="en-US"/>
              <a:t>Go to header/footer to change text 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65822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Generic Image 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EF901D4D-9409-F6FD-D75F-2C6ED397CB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14465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7" imgH="277" progId="TCLayout.ActiveDocument.1">
                  <p:embed/>
                </p:oleObj>
              </mc:Choice>
              <mc:Fallback>
                <p:oleObj name="think-cell Folie" r:id="rId3" imgW="277" imgH="277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EF901D4D-9409-F6FD-D75F-2C6ED397CB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ktangel 3">
            <a:extLst>
              <a:ext uri="{FF2B5EF4-FFF2-40B4-BE49-F238E27FC236}">
                <a16:creationId xmlns:a16="http://schemas.microsoft.com/office/drawing/2014/main" id="{29B8958B-10DA-F24F-A2EC-49711C241895}"/>
              </a:ext>
            </a:extLst>
          </p:cNvPr>
          <p:cNvSpPr/>
          <p:nvPr userDrawn="1"/>
        </p:nvSpPr>
        <p:spPr>
          <a:xfrm>
            <a:off x="6520873" y="2499519"/>
            <a:ext cx="1003877" cy="49306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28" name="Rektangel 27">
            <a:extLst>
              <a:ext uri="{FF2B5EF4-FFF2-40B4-BE49-F238E27FC236}">
                <a16:creationId xmlns:a16="http://schemas.microsoft.com/office/drawing/2014/main" id="{44B06D9C-224E-0C44-86A7-A872605E97D8}"/>
              </a:ext>
            </a:extLst>
          </p:cNvPr>
          <p:cNvSpPr/>
          <p:nvPr userDrawn="1"/>
        </p:nvSpPr>
        <p:spPr>
          <a:xfrm>
            <a:off x="6520873" y="2007250"/>
            <a:ext cx="1003877" cy="49306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11" name="Date Placeholder 3" hidden="1">
            <a:extLst>
              <a:ext uri="{FF2B5EF4-FFF2-40B4-BE49-F238E27FC236}">
                <a16:creationId xmlns:a16="http://schemas.microsoft.com/office/drawing/2014/main" id="{38CA3AD7-12F8-9F43-820D-33071C26D41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287" y="4901296"/>
            <a:ext cx="2948826" cy="1152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 rtl="0">
              <a:defRPr sz="600" b="0">
                <a:solidFill>
                  <a:srgbClr val="737373"/>
                </a:solidFill>
              </a:defRPr>
            </a:lvl1pPr>
          </a:lstStyle>
          <a:p>
            <a:fld id="{D9E863AC-FDC1-498F-B2F5-092FFDA8DDD2}" type="datetime1">
              <a:rPr lang="en-US" smtClean="0"/>
              <a:pPr/>
              <a:t>8/29/2025</a:t>
            </a:fld>
            <a:endParaRPr lang="en-US"/>
          </a:p>
        </p:txBody>
      </p:sp>
      <p:sp>
        <p:nvSpPr>
          <p:cNvPr id="12" name="Slide Number Placeholder 5" hidden="1">
            <a:extLst>
              <a:ext uri="{FF2B5EF4-FFF2-40B4-BE49-F238E27FC236}">
                <a16:creationId xmlns:a16="http://schemas.microsoft.com/office/drawing/2014/main" id="{DFED6C3B-4A73-344C-A9A5-F822417888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40418" y="5003474"/>
            <a:ext cx="324294" cy="8245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 rtl="0">
              <a:defRPr sz="600" b="0">
                <a:solidFill>
                  <a:srgbClr val="737373"/>
                </a:solidFill>
              </a:defRPr>
            </a:lvl1pPr>
          </a:lstStyle>
          <a:p>
            <a:fld id="{17CD396C-6A52-4D5A-BAE3-92A1CC3BBDE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Platshållare för sidfot 6" hidden="1">
            <a:extLst>
              <a:ext uri="{FF2B5EF4-FFF2-40B4-BE49-F238E27FC236}">
                <a16:creationId xmlns:a16="http://schemas.microsoft.com/office/drawing/2014/main" id="{3B9E93E1-A5C6-AE48-99D5-A7A443E60A8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84887" y="4901296"/>
            <a:ext cx="2879823" cy="1152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 rtl="0">
              <a:defRPr sz="600">
                <a:solidFill>
                  <a:srgbClr val="737373"/>
                </a:solidFill>
              </a:defRPr>
            </a:lvl1pPr>
          </a:lstStyle>
          <a:p>
            <a:r>
              <a:rPr lang="en-US"/>
              <a:t>Go to header/footer to change text  </a:t>
            </a:r>
          </a:p>
        </p:txBody>
      </p:sp>
      <p:sp>
        <p:nvSpPr>
          <p:cNvPr id="27" name="Platshållare för bild 26">
            <a:extLst>
              <a:ext uri="{FF2B5EF4-FFF2-40B4-BE49-F238E27FC236}">
                <a16:creationId xmlns:a16="http://schemas.microsoft.com/office/drawing/2014/main" id="{0EE0B0DA-C9E9-6D44-AB2E-FAAB426DE76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79388" y="158750"/>
            <a:ext cx="8785322" cy="4681538"/>
          </a:xfrm>
          <a:custGeom>
            <a:avLst/>
            <a:gdLst>
              <a:gd name="connsiteX0" fmla="*/ 5051072 w 8785322"/>
              <a:gd name="connsiteY0" fmla="*/ 2241358 h 4681538"/>
              <a:gd name="connsiteX1" fmla="*/ 5051931 w 8785322"/>
              <a:gd name="connsiteY1" fmla="*/ 2241358 h 4681538"/>
              <a:gd name="connsiteX2" fmla="*/ 5121203 w 8785322"/>
              <a:gd name="connsiteY2" fmla="*/ 2413455 h 4681538"/>
              <a:gd name="connsiteX3" fmla="*/ 4982028 w 8785322"/>
              <a:gd name="connsiteY3" fmla="*/ 2413512 h 4681538"/>
              <a:gd name="connsiteX4" fmla="*/ 2251634 w 8785322"/>
              <a:gd name="connsiteY4" fmla="*/ 2241358 h 4681538"/>
              <a:gd name="connsiteX5" fmla="*/ 2252493 w 8785322"/>
              <a:gd name="connsiteY5" fmla="*/ 2241358 h 4681538"/>
              <a:gd name="connsiteX6" fmla="*/ 2321537 w 8785322"/>
              <a:gd name="connsiteY6" fmla="*/ 2413455 h 4681538"/>
              <a:gd name="connsiteX7" fmla="*/ 2182590 w 8785322"/>
              <a:gd name="connsiteY7" fmla="*/ 2413512 h 4681538"/>
              <a:gd name="connsiteX8" fmla="*/ 4986778 w 8785322"/>
              <a:gd name="connsiteY8" fmla="*/ 2102398 h 4681538"/>
              <a:gd name="connsiteX9" fmla="*/ 4776443 w 8785322"/>
              <a:gd name="connsiteY9" fmla="*/ 2606354 h 4681538"/>
              <a:gd name="connsiteX10" fmla="*/ 4904233 w 8785322"/>
              <a:gd name="connsiteY10" fmla="*/ 2606354 h 4681538"/>
              <a:gd name="connsiteX11" fmla="*/ 4940442 w 8785322"/>
              <a:gd name="connsiteY11" fmla="*/ 2516360 h 4681538"/>
              <a:gd name="connsiteX12" fmla="*/ 5162504 w 8785322"/>
              <a:gd name="connsiteY12" fmla="*/ 2516360 h 4681538"/>
              <a:gd name="connsiteX13" fmla="*/ 5198770 w 8785322"/>
              <a:gd name="connsiteY13" fmla="*/ 2606069 h 4681538"/>
              <a:gd name="connsiteX14" fmla="*/ 5326503 w 8785322"/>
              <a:gd name="connsiteY14" fmla="*/ 2606069 h 4681538"/>
              <a:gd name="connsiteX15" fmla="*/ 5116457 w 8785322"/>
              <a:gd name="connsiteY15" fmla="*/ 2102398 h 4681538"/>
              <a:gd name="connsiteX16" fmla="*/ 2187055 w 8785322"/>
              <a:gd name="connsiteY16" fmla="*/ 2102398 h 4681538"/>
              <a:gd name="connsiteX17" fmla="*/ 1976777 w 8785322"/>
              <a:gd name="connsiteY17" fmla="*/ 2606354 h 4681538"/>
              <a:gd name="connsiteX18" fmla="*/ 2104510 w 8785322"/>
              <a:gd name="connsiteY18" fmla="*/ 2606354 h 4681538"/>
              <a:gd name="connsiteX19" fmla="*/ 2140776 w 8785322"/>
              <a:gd name="connsiteY19" fmla="*/ 2516360 h 4681538"/>
              <a:gd name="connsiteX20" fmla="*/ 2362838 w 8785322"/>
              <a:gd name="connsiteY20" fmla="*/ 2516360 h 4681538"/>
              <a:gd name="connsiteX21" fmla="*/ 2399332 w 8785322"/>
              <a:gd name="connsiteY21" fmla="*/ 2606069 h 4681538"/>
              <a:gd name="connsiteX22" fmla="*/ 2527122 w 8785322"/>
              <a:gd name="connsiteY22" fmla="*/ 2606069 h 4681538"/>
              <a:gd name="connsiteX23" fmla="*/ 2316502 w 8785322"/>
              <a:gd name="connsiteY23" fmla="*/ 2102398 h 4681538"/>
              <a:gd name="connsiteX24" fmla="*/ 5791389 w 8785322"/>
              <a:gd name="connsiteY24" fmla="*/ 2102113 h 4681538"/>
              <a:gd name="connsiteX25" fmla="*/ 5791389 w 8785322"/>
              <a:gd name="connsiteY25" fmla="*/ 2606069 h 4681538"/>
              <a:gd name="connsiteX26" fmla="*/ 6156228 w 8785322"/>
              <a:gd name="connsiteY26" fmla="*/ 2606069 h 4681538"/>
              <a:gd name="connsiteX27" fmla="*/ 6156228 w 8785322"/>
              <a:gd name="connsiteY27" fmla="*/ 2494193 h 4681538"/>
              <a:gd name="connsiteX28" fmla="*/ 5923526 w 8785322"/>
              <a:gd name="connsiteY28" fmla="*/ 2494193 h 4681538"/>
              <a:gd name="connsiteX29" fmla="*/ 5923526 w 8785322"/>
              <a:gd name="connsiteY29" fmla="*/ 2102113 h 4681538"/>
              <a:gd name="connsiteX30" fmla="*/ 5369461 w 8785322"/>
              <a:gd name="connsiteY30" fmla="*/ 2102113 h 4681538"/>
              <a:gd name="connsiteX31" fmla="*/ 5369461 w 8785322"/>
              <a:gd name="connsiteY31" fmla="*/ 2606069 h 4681538"/>
              <a:gd name="connsiteX32" fmla="*/ 5734357 w 8785322"/>
              <a:gd name="connsiteY32" fmla="*/ 2606069 h 4681538"/>
              <a:gd name="connsiteX33" fmla="*/ 5734357 w 8785322"/>
              <a:gd name="connsiteY33" fmla="*/ 2494193 h 4681538"/>
              <a:gd name="connsiteX34" fmla="*/ 5501655 w 8785322"/>
              <a:gd name="connsiteY34" fmla="*/ 2494193 h 4681538"/>
              <a:gd name="connsiteX35" fmla="*/ 5501655 w 8785322"/>
              <a:gd name="connsiteY35" fmla="*/ 2102113 h 4681538"/>
              <a:gd name="connsiteX36" fmla="*/ 4435460 w 8785322"/>
              <a:gd name="connsiteY36" fmla="*/ 2102113 h 4681538"/>
              <a:gd name="connsiteX37" fmla="*/ 4435460 w 8785322"/>
              <a:gd name="connsiteY37" fmla="*/ 2606069 h 4681538"/>
              <a:gd name="connsiteX38" fmla="*/ 4567597 w 8785322"/>
              <a:gd name="connsiteY38" fmla="*/ 2606069 h 4681538"/>
              <a:gd name="connsiteX39" fmla="*/ 4567597 w 8785322"/>
              <a:gd name="connsiteY39" fmla="*/ 2402086 h 4681538"/>
              <a:gd name="connsiteX40" fmla="*/ 4780907 w 8785322"/>
              <a:gd name="connsiteY40" fmla="*/ 2402086 h 4681538"/>
              <a:gd name="connsiteX41" fmla="*/ 4780907 w 8785322"/>
              <a:gd name="connsiteY41" fmla="*/ 2294097 h 4681538"/>
              <a:gd name="connsiteX42" fmla="*/ 4567597 w 8785322"/>
              <a:gd name="connsiteY42" fmla="*/ 2294097 h 4681538"/>
              <a:gd name="connsiteX43" fmla="*/ 4567597 w 8785322"/>
              <a:gd name="connsiteY43" fmla="*/ 2210102 h 4681538"/>
              <a:gd name="connsiteX44" fmla="*/ 4820548 w 8785322"/>
              <a:gd name="connsiteY44" fmla="*/ 2210102 h 4681538"/>
              <a:gd name="connsiteX45" fmla="*/ 4820548 w 8785322"/>
              <a:gd name="connsiteY45" fmla="*/ 2102113 h 4681538"/>
              <a:gd name="connsiteX46" fmla="*/ 3857771 w 8785322"/>
              <a:gd name="connsiteY46" fmla="*/ 2102113 h 4681538"/>
              <a:gd name="connsiteX47" fmla="*/ 3857771 w 8785322"/>
              <a:gd name="connsiteY47" fmla="*/ 2606069 h 4681538"/>
              <a:gd name="connsiteX48" fmla="*/ 3983961 w 8785322"/>
              <a:gd name="connsiteY48" fmla="*/ 2606069 h 4681538"/>
              <a:gd name="connsiteX49" fmla="*/ 3983961 w 8785322"/>
              <a:gd name="connsiteY49" fmla="*/ 2308151 h 4681538"/>
              <a:gd name="connsiteX50" fmla="*/ 4208766 w 8785322"/>
              <a:gd name="connsiteY50" fmla="*/ 2606069 h 4681538"/>
              <a:gd name="connsiteX51" fmla="*/ 4334953 w 8785322"/>
              <a:gd name="connsiteY51" fmla="*/ 2606069 h 4681538"/>
              <a:gd name="connsiteX52" fmla="*/ 4334953 w 8785322"/>
              <a:gd name="connsiteY52" fmla="*/ 2102113 h 4681538"/>
              <a:gd name="connsiteX53" fmla="*/ 4208766 w 8785322"/>
              <a:gd name="connsiteY53" fmla="*/ 2102113 h 4681538"/>
              <a:gd name="connsiteX54" fmla="*/ 4208766 w 8785322"/>
              <a:gd name="connsiteY54" fmla="*/ 2403686 h 4681538"/>
              <a:gd name="connsiteX55" fmla="*/ 3983961 w 8785322"/>
              <a:gd name="connsiteY55" fmla="*/ 2102113 h 4681538"/>
              <a:gd name="connsiteX56" fmla="*/ 3393284 w 8785322"/>
              <a:gd name="connsiteY56" fmla="*/ 2102113 h 4681538"/>
              <a:gd name="connsiteX57" fmla="*/ 3393284 w 8785322"/>
              <a:gd name="connsiteY57" fmla="*/ 2606069 h 4681538"/>
              <a:gd name="connsiteX58" fmla="*/ 3525421 w 8785322"/>
              <a:gd name="connsiteY58" fmla="*/ 2606069 h 4681538"/>
              <a:gd name="connsiteX59" fmla="*/ 3766361 w 8785322"/>
              <a:gd name="connsiteY59" fmla="*/ 2606069 h 4681538"/>
              <a:gd name="connsiteX60" fmla="*/ 3766361 w 8785322"/>
              <a:gd name="connsiteY60" fmla="*/ 2498080 h 4681538"/>
              <a:gd name="connsiteX61" fmla="*/ 3525421 w 8785322"/>
              <a:gd name="connsiteY61" fmla="*/ 2498080 h 4681538"/>
              <a:gd name="connsiteX62" fmla="*/ 3525421 w 8785322"/>
              <a:gd name="connsiteY62" fmla="*/ 2398887 h 4681538"/>
              <a:gd name="connsiteX63" fmla="*/ 3729635 w 8785322"/>
              <a:gd name="connsiteY63" fmla="*/ 2398887 h 4681538"/>
              <a:gd name="connsiteX64" fmla="*/ 3729635 w 8785322"/>
              <a:gd name="connsiteY64" fmla="*/ 2290897 h 4681538"/>
              <a:gd name="connsiteX65" fmla="*/ 3525421 w 8785322"/>
              <a:gd name="connsiteY65" fmla="*/ 2290897 h 4681538"/>
              <a:gd name="connsiteX66" fmla="*/ 3525421 w 8785322"/>
              <a:gd name="connsiteY66" fmla="*/ 2210102 h 4681538"/>
              <a:gd name="connsiteX67" fmla="*/ 3766361 w 8785322"/>
              <a:gd name="connsiteY67" fmla="*/ 2210102 h 4681538"/>
              <a:gd name="connsiteX68" fmla="*/ 3766361 w 8785322"/>
              <a:gd name="connsiteY68" fmla="*/ 2102113 h 4681538"/>
              <a:gd name="connsiteX69" fmla="*/ 2918731 w 8785322"/>
              <a:gd name="connsiteY69" fmla="*/ 2102113 h 4681538"/>
              <a:gd name="connsiteX70" fmla="*/ 2918731 w 8785322"/>
              <a:gd name="connsiteY70" fmla="*/ 2210102 h 4681538"/>
              <a:gd name="connsiteX71" fmla="*/ 3050868 w 8785322"/>
              <a:gd name="connsiteY71" fmla="*/ 2210102 h 4681538"/>
              <a:gd name="connsiteX72" fmla="*/ 3050868 w 8785322"/>
              <a:gd name="connsiteY72" fmla="*/ 2606069 h 4681538"/>
              <a:gd name="connsiteX73" fmla="*/ 3183006 w 8785322"/>
              <a:gd name="connsiteY73" fmla="*/ 2606069 h 4681538"/>
              <a:gd name="connsiteX74" fmla="*/ 3183006 w 8785322"/>
              <a:gd name="connsiteY74" fmla="*/ 2210102 h 4681538"/>
              <a:gd name="connsiteX75" fmla="*/ 3329218 w 8785322"/>
              <a:gd name="connsiteY75" fmla="*/ 2210102 h 4681538"/>
              <a:gd name="connsiteX76" fmla="*/ 3329218 w 8785322"/>
              <a:gd name="connsiteY76" fmla="*/ 2102113 h 4681538"/>
              <a:gd name="connsiteX77" fmla="*/ 2462254 w 8785322"/>
              <a:gd name="connsiteY77" fmla="*/ 2102113 h 4681538"/>
              <a:gd name="connsiteX78" fmla="*/ 2462254 w 8785322"/>
              <a:gd name="connsiteY78" fmla="*/ 2210102 h 4681538"/>
              <a:gd name="connsiteX79" fmla="*/ 2608405 w 8785322"/>
              <a:gd name="connsiteY79" fmla="*/ 2210102 h 4681538"/>
              <a:gd name="connsiteX80" fmla="*/ 2608405 w 8785322"/>
              <a:gd name="connsiteY80" fmla="*/ 2606069 h 4681538"/>
              <a:gd name="connsiteX81" fmla="*/ 2740547 w 8785322"/>
              <a:gd name="connsiteY81" fmla="*/ 2606069 h 4681538"/>
              <a:gd name="connsiteX82" fmla="*/ 2740547 w 8785322"/>
              <a:gd name="connsiteY82" fmla="*/ 2210102 h 4681538"/>
              <a:gd name="connsiteX83" fmla="*/ 2872684 w 8785322"/>
              <a:gd name="connsiteY83" fmla="*/ 2210102 h 4681538"/>
              <a:gd name="connsiteX84" fmla="*/ 2872684 w 8785322"/>
              <a:gd name="connsiteY84" fmla="*/ 2102113 h 4681538"/>
              <a:gd name="connsiteX85" fmla="*/ 1517899 w 8785322"/>
              <a:gd name="connsiteY85" fmla="*/ 2102113 h 4681538"/>
              <a:gd name="connsiteX86" fmla="*/ 1724857 w 8785322"/>
              <a:gd name="connsiteY86" fmla="*/ 2606069 h 4681538"/>
              <a:gd name="connsiteX87" fmla="*/ 1854995 w 8785322"/>
              <a:gd name="connsiteY87" fmla="*/ 2606069 h 4681538"/>
              <a:gd name="connsiteX88" fmla="*/ 2061952 w 8785322"/>
              <a:gd name="connsiteY88" fmla="*/ 2102113 h 4681538"/>
              <a:gd name="connsiteX89" fmla="*/ 1934219 w 8785322"/>
              <a:gd name="connsiteY89" fmla="*/ 2102113 h 4681538"/>
              <a:gd name="connsiteX90" fmla="*/ 1790469 w 8785322"/>
              <a:gd name="connsiteY90" fmla="*/ 2456425 h 4681538"/>
              <a:gd name="connsiteX91" fmla="*/ 1789382 w 8785322"/>
              <a:gd name="connsiteY91" fmla="*/ 2456425 h 4681538"/>
              <a:gd name="connsiteX92" fmla="*/ 1645690 w 8785322"/>
              <a:gd name="connsiteY92" fmla="*/ 2102113 h 4681538"/>
              <a:gd name="connsiteX93" fmla="*/ 6850605 w 8785322"/>
              <a:gd name="connsiteY93" fmla="*/ 1899225 h 4681538"/>
              <a:gd name="connsiteX94" fmla="*/ 6417469 w 8785322"/>
              <a:gd name="connsiteY94" fmla="*/ 2251840 h 4681538"/>
              <a:gd name="connsiteX95" fmla="*/ 6408495 w 8785322"/>
              <a:gd name="connsiteY95" fmla="*/ 2340755 h 4681538"/>
              <a:gd name="connsiteX96" fmla="*/ 6408486 w 8785322"/>
              <a:gd name="connsiteY96" fmla="*/ 2340755 h 4681538"/>
              <a:gd name="connsiteX97" fmla="*/ 6408491 w 8785322"/>
              <a:gd name="connsiteY97" fmla="*/ 2340798 h 4681538"/>
              <a:gd name="connsiteX98" fmla="*/ 6408486 w 8785322"/>
              <a:gd name="connsiteY98" fmla="*/ 2340841 h 4681538"/>
              <a:gd name="connsiteX99" fmla="*/ 6408495 w 8785322"/>
              <a:gd name="connsiteY99" fmla="*/ 2340841 h 4681538"/>
              <a:gd name="connsiteX100" fmla="*/ 6417478 w 8785322"/>
              <a:gd name="connsiteY100" fmla="*/ 2429748 h 4681538"/>
              <a:gd name="connsiteX101" fmla="*/ 6850605 w 8785322"/>
              <a:gd name="connsiteY101" fmla="*/ 2782318 h 4681538"/>
              <a:gd name="connsiteX102" fmla="*/ 6850666 w 8785322"/>
              <a:gd name="connsiteY102" fmla="*/ 2782318 h 4681538"/>
              <a:gd name="connsiteX103" fmla="*/ 7283747 w 8785322"/>
              <a:gd name="connsiteY103" fmla="*/ 2429745 h 4681538"/>
              <a:gd name="connsiteX104" fmla="*/ 7292720 w 8785322"/>
              <a:gd name="connsiteY104" fmla="*/ 2340841 h 4681538"/>
              <a:gd name="connsiteX105" fmla="*/ 7292728 w 8785322"/>
              <a:gd name="connsiteY105" fmla="*/ 2340841 h 4681538"/>
              <a:gd name="connsiteX106" fmla="*/ 7292724 w 8785322"/>
              <a:gd name="connsiteY106" fmla="*/ 2340798 h 4681538"/>
              <a:gd name="connsiteX107" fmla="*/ 7292728 w 8785322"/>
              <a:gd name="connsiteY107" fmla="*/ 2340755 h 4681538"/>
              <a:gd name="connsiteX108" fmla="*/ 7292720 w 8785322"/>
              <a:gd name="connsiteY108" fmla="*/ 2340755 h 4681538"/>
              <a:gd name="connsiteX109" fmla="*/ 7283766 w 8785322"/>
              <a:gd name="connsiteY109" fmla="*/ 2251850 h 4681538"/>
              <a:gd name="connsiteX110" fmla="*/ 6850723 w 8785322"/>
              <a:gd name="connsiteY110" fmla="*/ 1899225 h 4681538"/>
              <a:gd name="connsiteX111" fmla="*/ 6850605 w 8785322"/>
              <a:gd name="connsiteY111" fmla="*/ 1899225 h 4681538"/>
              <a:gd name="connsiteX112" fmla="*/ 0 w 8785322"/>
              <a:gd name="connsiteY112" fmla="*/ 0 h 4681538"/>
              <a:gd name="connsiteX113" fmla="*/ 8785322 w 8785322"/>
              <a:gd name="connsiteY113" fmla="*/ 0 h 4681538"/>
              <a:gd name="connsiteX114" fmla="*/ 8785322 w 8785322"/>
              <a:gd name="connsiteY114" fmla="*/ 4681538 h 4681538"/>
              <a:gd name="connsiteX115" fmla="*/ 0 w 8785322"/>
              <a:gd name="connsiteY115" fmla="*/ 4681538 h 46815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</a:cxnLst>
            <a:rect l="l" t="t" r="r" b="b"/>
            <a:pathLst>
              <a:path w="8785322" h="4681538">
                <a:moveTo>
                  <a:pt x="5051072" y="2241358"/>
                </a:moveTo>
                <a:lnTo>
                  <a:pt x="5051931" y="2241358"/>
                </a:lnTo>
                <a:lnTo>
                  <a:pt x="5121203" y="2413455"/>
                </a:lnTo>
                <a:lnTo>
                  <a:pt x="4982028" y="2413512"/>
                </a:lnTo>
                <a:close/>
                <a:moveTo>
                  <a:pt x="2251634" y="2241358"/>
                </a:moveTo>
                <a:lnTo>
                  <a:pt x="2252493" y="2241358"/>
                </a:lnTo>
                <a:lnTo>
                  <a:pt x="2321537" y="2413455"/>
                </a:lnTo>
                <a:lnTo>
                  <a:pt x="2182590" y="2413512"/>
                </a:lnTo>
                <a:close/>
                <a:moveTo>
                  <a:pt x="4986778" y="2102398"/>
                </a:moveTo>
                <a:lnTo>
                  <a:pt x="4776443" y="2606354"/>
                </a:lnTo>
                <a:lnTo>
                  <a:pt x="4904233" y="2606354"/>
                </a:lnTo>
                <a:lnTo>
                  <a:pt x="4940442" y="2516360"/>
                </a:lnTo>
                <a:lnTo>
                  <a:pt x="5162504" y="2516360"/>
                </a:lnTo>
                <a:lnTo>
                  <a:pt x="5198770" y="2606069"/>
                </a:lnTo>
                <a:lnTo>
                  <a:pt x="5326503" y="2606069"/>
                </a:lnTo>
                <a:lnTo>
                  <a:pt x="5116457" y="2102398"/>
                </a:lnTo>
                <a:close/>
                <a:moveTo>
                  <a:pt x="2187055" y="2102398"/>
                </a:moveTo>
                <a:lnTo>
                  <a:pt x="1976777" y="2606354"/>
                </a:lnTo>
                <a:lnTo>
                  <a:pt x="2104510" y="2606354"/>
                </a:lnTo>
                <a:lnTo>
                  <a:pt x="2140776" y="2516360"/>
                </a:lnTo>
                <a:lnTo>
                  <a:pt x="2362838" y="2516360"/>
                </a:lnTo>
                <a:lnTo>
                  <a:pt x="2399332" y="2606069"/>
                </a:lnTo>
                <a:lnTo>
                  <a:pt x="2527122" y="2606069"/>
                </a:lnTo>
                <a:lnTo>
                  <a:pt x="2316502" y="2102398"/>
                </a:lnTo>
                <a:close/>
                <a:moveTo>
                  <a:pt x="5791389" y="2102113"/>
                </a:moveTo>
                <a:lnTo>
                  <a:pt x="5791389" y="2606069"/>
                </a:lnTo>
                <a:lnTo>
                  <a:pt x="6156228" y="2606069"/>
                </a:lnTo>
                <a:lnTo>
                  <a:pt x="6156228" y="2494193"/>
                </a:lnTo>
                <a:lnTo>
                  <a:pt x="5923526" y="2494193"/>
                </a:lnTo>
                <a:lnTo>
                  <a:pt x="5923526" y="2102113"/>
                </a:lnTo>
                <a:close/>
                <a:moveTo>
                  <a:pt x="5369461" y="2102113"/>
                </a:moveTo>
                <a:lnTo>
                  <a:pt x="5369461" y="2606069"/>
                </a:lnTo>
                <a:lnTo>
                  <a:pt x="5734357" y="2606069"/>
                </a:lnTo>
                <a:lnTo>
                  <a:pt x="5734357" y="2494193"/>
                </a:lnTo>
                <a:lnTo>
                  <a:pt x="5501655" y="2494193"/>
                </a:lnTo>
                <a:lnTo>
                  <a:pt x="5501655" y="2102113"/>
                </a:lnTo>
                <a:close/>
                <a:moveTo>
                  <a:pt x="4435460" y="2102113"/>
                </a:moveTo>
                <a:lnTo>
                  <a:pt x="4435460" y="2606069"/>
                </a:lnTo>
                <a:lnTo>
                  <a:pt x="4567597" y="2606069"/>
                </a:lnTo>
                <a:lnTo>
                  <a:pt x="4567597" y="2402086"/>
                </a:lnTo>
                <a:lnTo>
                  <a:pt x="4780907" y="2402086"/>
                </a:lnTo>
                <a:lnTo>
                  <a:pt x="4780907" y="2294097"/>
                </a:lnTo>
                <a:lnTo>
                  <a:pt x="4567597" y="2294097"/>
                </a:lnTo>
                <a:lnTo>
                  <a:pt x="4567597" y="2210102"/>
                </a:lnTo>
                <a:lnTo>
                  <a:pt x="4820548" y="2210102"/>
                </a:lnTo>
                <a:lnTo>
                  <a:pt x="4820548" y="2102113"/>
                </a:lnTo>
                <a:close/>
                <a:moveTo>
                  <a:pt x="3857771" y="2102113"/>
                </a:moveTo>
                <a:lnTo>
                  <a:pt x="3857771" y="2606069"/>
                </a:lnTo>
                <a:lnTo>
                  <a:pt x="3983961" y="2606069"/>
                </a:lnTo>
                <a:lnTo>
                  <a:pt x="3983961" y="2308151"/>
                </a:lnTo>
                <a:lnTo>
                  <a:pt x="4208766" y="2606069"/>
                </a:lnTo>
                <a:lnTo>
                  <a:pt x="4334953" y="2606069"/>
                </a:lnTo>
                <a:lnTo>
                  <a:pt x="4334953" y="2102113"/>
                </a:lnTo>
                <a:lnTo>
                  <a:pt x="4208766" y="2102113"/>
                </a:lnTo>
                <a:lnTo>
                  <a:pt x="4208766" y="2403686"/>
                </a:lnTo>
                <a:lnTo>
                  <a:pt x="3983961" y="2102113"/>
                </a:lnTo>
                <a:close/>
                <a:moveTo>
                  <a:pt x="3393284" y="2102113"/>
                </a:moveTo>
                <a:lnTo>
                  <a:pt x="3393284" y="2606069"/>
                </a:lnTo>
                <a:lnTo>
                  <a:pt x="3525421" y="2606069"/>
                </a:lnTo>
                <a:lnTo>
                  <a:pt x="3766361" y="2606069"/>
                </a:lnTo>
                <a:lnTo>
                  <a:pt x="3766361" y="2498080"/>
                </a:lnTo>
                <a:lnTo>
                  <a:pt x="3525421" y="2498080"/>
                </a:lnTo>
                <a:lnTo>
                  <a:pt x="3525421" y="2398887"/>
                </a:lnTo>
                <a:lnTo>
                  <a:pt x="3729635" y="2398887"/>
                </a:lnTo>
                <a:lnTo>
                  <a:pt x="3729635" y="2290897"/>
                </a:lnTo>
                <a:lnTo>
                  <a:pt x="3525421" y="2290897"/>
                </a:lnTo>
                <a:lnTo>
                  <a:pt x="3525421" y="2210102"/>
                </a:lnTo>
                <a:lnTo>
                  <a:pt x="3766361" y="2210102"/>
                </a:lnTo>
                <a:lnTo>
                  <a:pt x="3766361" y="2102113"/>
                </a:lnTo>
                <a:close/>
                <a:moveTo>
                  <a:pt x="2918731" y="2102113"/>
                </a:moveTo>
                <a:lnTo>
                  <a:pt x="2918731" y="2210102"/>
                </a:lnTo>
                <a:lnTo>
                  <a:pt x="3050868" y="2210102"/>
                </a:lnTo>
                <a:lnTo>
                  <a:pt x="3050868" y="2606069"/>
                </a:lnTo>
                <a:lnTo>
                  <a:pt x="3183006" y="2606069"/>
                </a:lnTo>
                <a:lnTo>
                  <a:pt x="3183006" y="2210102"/>
                </a:lnTo>
                <a:lnTo>
                  <a:pt x="3329218" y="2210102"/>
                </a:lnTo>
                <a:lnTo>
                  <a:pt x="3329218" y="2102113"/>
                </a:lnTo>
                <a:close/>
                <a:moveTo>
                  <a:pt x="2462254" y="2102113"/>
                </a:moveTo>
                <a:lnTo>
                  <a:pt x="2462254" y="2210102"/>
                </a:lnTo>
                <a:lnTo>
                  <a:pt x="2608405" y="2210102"/>
                </a:lnTo>
                <a:lnTo>
                  <a:pt x="2608405" y="2606069"/>
                </a:lnTo>
                <a:lnTo>
                  <a:pt x="2740547" y="2606069"/>
                </a:lnTo>
                <a:lnTo>
                  <a:pt x="2740547" y="2210102"/>
                </a:lnTo>
                <a:lnTo>
                  <a:pt x="2872684" y="2210102"/>
                </a:lnTo>
                <a:lnTo>
                  <a:pt x="2872684" y="2102113"/>
                </a:lnTo>
                <a:close/>
                <a:moveTo>
                  <a:pt x="1517899" y="2102113"/>
                </a:moveTo>
                <a:lnTo>
                  <a:pt x="1724857" y="2606069"/>
                </a:lnTo>
                <a:lnTo>
                  <a:pt x="1854995" y="2606069"/>
                </a:lnTo>
                <a:lnTo>
                  <a:pt x="2061952" y="2102113"/>
                </a:lnTo>
                <a:lnTo>
                  <a:pt x="1934219" y="2102113"/>
                </a:lnTo>
                <a:lnTo>
                  <a:pt x="1790469" y="2456425"/>
                </a:lnTo>
                <a:lnTo>
                  <a:pt x="1789382" y="2456425"/>
                </a:lnTo>
                <a:lnTo>
                  <a:pt x="1645690" y="2102113"/>
                </a:lnTo>
                <a:close/>
                <a:moveTo>
                  <a:pt x="6850605" y="1899225"/>
                </a:moveTo>
                <a:cubicBezTo>
                  <a:pt x="6636954" y="1899225"/>
                  <a:pt x="6458695" y="2050602"/>
                  <a:pt x="6417469" y="2251840"/>
                </a:cubicBezTo>
                <a:lnTo>
                  <a:pt x="6408495" y="2340755"/>
                </a:lnTo>
                <a:lnTo>
                  <a:pt x="6408486" y="2340755"/>
                </a:lnTo>
                <a:lnTo>
                  <a:pt x="6408491" y="2340798"/>
                </a:lnTo>
                <a:lnTo>
                  <a:pt x="6408486" y="2340841"/>
                </a:lnTo>
                <a:lnTo>
                  <a:pt x="6408495" y="2340841"/>
                </a:lnTo>
                <a:lnTo>
                  <a:pt x="6417478" y="2429748"/>
                </a:lnTo>
                <a:cubicBezTo>
                  <a:pt x="6458721" y="2630964"/>
                  <a:pt x="6636972" y="2782318"/>
                  <a:pt x="6850605" y="2782318"/>
                </a:cubicBezTo>
                <a:cubicBezTo>
                  <a:pt x="6850626" y="2782318"/>
                  <a:pt x="6850646" y="2782318"/>
                  <a:pt x="6850666" y="2782318"/>
                </a:cubicBezTo>
                <a:cubicBezTo>
                  <a:pt x="7064292" y="2782318"/>
                  <a:pt x="7242526" y="2630958"/>
                  <a:pt x="7283747" y="2429745"/>
                </a:cubicBezTo>
                <a:lnTo>
                  <a:pt x="7292720" y="2340841"/>
                </a:lnTo>
                <a:lnTo>
                  <a:pt x="7292728" y="2340841"/>
                </a:lnTo>
                <a:lnTo>
                  <a:pt x="7292724" y="2340798"/>
                </a:lnTo>
                <a:lnTo>
                  <a:pt x="7292728" y="2340755"/>
                </a:lnTo>
                <a:lnTo>
                  <a:pt x="7292720" y="2340755"/>
                </a:lnTo>
                <a:lnTo>
                  <a:pt x="7283766" y="2251850"/>
                </a:lnTo>
                <a:cubicBezTo>
                  <a:pt x="7242583" y="2050634"/>
                  <a:pt x="7064349" y="1899253"/>
                  <a:pt x="6850723" y="1899225"/>
                </a:cubicBezTo>
                <a:cubicBezTo>
                  <a:pt x="6850683" y="1899225"/>
                  <a:pt x="6850646" y="1899225"/>
                  <a:pt x="6850605" y="1899225"/>
                </a:cubicBezTo>
                <a:close/>
                <a:moveTo>
                  <a:pt x="0" y="0"/>
                </a:moveTo>
                <a:lnTo>
                  <a:pt x="8785322" y="0"/>
                </a:lnTo>
                <a:lnTo>
                  <a:pt x="8785322" y="4681538"/>
                </a:lnTo>
                <a:lnTo>
                  <a:pt x="0" y="4681538"/>
                </a:lnTo>
                <a:close/>
              </a:path>
            </a:pathLst>
          </a:custGeom>
          <a:blipFill dpi="0" rotWithShape="1">
            <a:blip r:embed="rId5"/>
            <a:srcRect/>
            <a:tile tx="0" ty="0" sx="100000" sy="100000" flip="none" algn="tl"/>
          </a:blipFill>
        </p:spPr>
        <p:txBody>
          <a:bodyPr wrap="square">
            <a:noAutofit/>
          </a:bodyPr>
          <a:lstStyle>
            <a:lvl1pPr algn="ctr" rtl="0">
              <a:buNone/>
              <a:defRPr sz="8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en-US" noProof="0"/>
              <a:t>Click on the icon to add an image</a:t>
            </a:r>
          </a:p>
        </p:txBody>
      </p:sp>
      <p:sp>
        <p:nvSpPr>
          <p:cNvPr id="2" name="Rektangel 1">
            <a:extLst>
              <a:ext uri="{FF2B5EF4-FFF2-40B4-BE49-F238E27FC236}">
                <a16:creationId xmlns:a16="http://schemas.microsoft.com/office/drawing/2014/main" id="{F803F8D0-F719-E241-8577-1EB6E3E95C67}"/>
              </a:ext>
            </a:extLst>
          </p:cNvPr>
          <p:cNvSpPr/>
          <p:nvPr userDrawn="1"/>
        </p:nvSpPr>
        <p:spPr>
          <a:xfrm>
            <a:off x="3949700" y="4867046"/>
            <a:ext cx="1193800" cy="2764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4179049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0FBA1216-B9E2-281A-67ED-63590C995E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454733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7" imgH="277" progId="TCLayout.ActiveDocument.1">
                  <p:embed/>
                </p:oleObj>
              </mc:Choice>
              <mc:Fallback>
                <p:oleObj name="think-cell Folie" r:id="rId3" imgW="277" imgH="277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0FBA1216-B9E2-281A-67ED-63590C995E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38CA3AD7-12F8-9F43-820D-33071C26D41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287" y="4901296"/>
            <a:ext cx="2948826" cy="1152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 rtl="0">
              <a:defRPr sz="600" b="0">
                <a:solidFill>
                  <a:srgbClr val="737373"/>
                </a:solidFill>
              </a:defRPr>
            </a:lvl1pPr>
          </a:lstStyle>
          <a:p>
            <a:fld id="{73F7403E-87F9-4F62-AD81-F50CBF53B98F}" type="datetime1">
              <a:rPr lang="en-US" smtClean="0"/>
              <a:pPr/>
              <a:t>8/29/2025</a:t>
            </a:fld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DFED6C3B-4A73-344C-A9A5-F822417888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40418" y="5003474"/>
            <a:ext cx="324294" cy="8245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 rtl="0">
              <a:defRPr sz="600" b="0">
                <a:solidFill>
                  <a:srgbClr val="737373"/>
                </a:solidFill>
              </a:defRPr>
            </a:lvl1pPr>
          </a:lstStyle>
          <a:p>
            <a:fld id="{17CD396C-6A52-4D5A-BAE3-92A1CC3BBDE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Platshållare för sidfot 6">
            <a:extLst>
              <a:ext uri="{FF2B5EF4-FFF2-40B4-BE49-F238E27FC236}">
                <a16:creationId xmlns:a16="http://schemas.microsoft.com/office/drawing/2014/main" id="{3B9E93E1-A5C6-AE48-99D5-A7A443E60A8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84887" y="4901296"/>
            <a:ext cx="2879823" cy="1152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 rtl="0">
              <a:defRPr sz="600">
                <a:solidFill>
                  <a:srgbClr val="737373"/>
                </a:solidFill>
              </a:defRPr>
            </a:lvl1pPr>
          </a:lstStyle>
          <a:p>
            <a:r>
              <a:rPr lang="en-US"/>
              <a:t>Go to header/footer to change text </a:t>
            </a:r>
          </a:p>
          <a:p>
            <a:endParaRPr lang="en-US"/>
          </a:p>
        </p:txBody>
      </p:sp>
      <p:sp>
        <p:nvSpPr>
          <p:cNvPr id="3" name="Platshållare för bild 2">
            <a:extLst>
              <a:ext uri="{FF2B5EF4-FFF2-40B4-BE49-F238E27FC236}">
                <a16:creationId xmlns:a16="http://schemas.microsoft.com/office/drawing/2014/main" id="{25798999-2A1E-2547-A8D5-4373B7132ADB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79388" y="158750"/>
            <a:ext cx="8785322" cy="4681538"/>
          </a:xfrm>
          <a:blipFill dpi="0" rotWithShape="1">
            <a:blip r:embed="rId5"/>
            <a:srcRect/>
            <a:tile tx="0" ty="0" sx="100000" sy="100000" flip="none" algn="tl"/>
          </a:blipFill>
        </p:spPr>
        <p:txBody>
          <a:bodyPr/>
          <a:lstStyle>
            <a:lvl1pPr algn="ctr" rtl="0">
              <a:buNone/>
              <a:defRPr sz="8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en-US" noProof="0"/>
              <a:t>Click on the icon to add an image </a:t>
            </a:r>
          </a:p>
        </p:txBody>
      </p:sp>
      <p:sp>
        <p:nvSpPr>
          <p:cNvPr id="6" name="Rubrik 5">
            <a:extLst>
              <a:ext uri="{FF2B5EF4-FFF2-40B4-BE49-F238E27FC236}">
                <a16:creationId xmlns:a16="http://schemas.microsoft.com/office/drawing/2014/main" id="{D70BF8E9-745F-E646-8ACE-EA0841D80D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850" y="1719827"/>
            <a:ext cx="8496300" cy="1560972"/>
          </a:xfrm>
        </p:spPr>
        <p:txBody>
          <a:bodyPr vert="horz" lIns="216000" rIns="216000" anchor="ctr"/>
          <a:lstStyle>
            <a:lvl1pPr algn="ctr" rtl="0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add presentation title in two rows</a:t>
            </a:r>
          </a:p>
        </p:txBody>
      </p:sp>
      <p:sp>
        <p:nvSpPr>
          <p:cNvPr id="15" name="Platshållare för text 14">
            <a:extLst>
              <a:ext uri="{FF2B5EF4-FFF2-40B4-BE49-F238E27FC236}">
                <a16:creationId xmlns:a16="http://schemas.microsoft.com/office/drawing/2014/main" id="{454F8E95-426A-F348-AA14-06D4E6F905A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03575" y="3307557"/>
            <a:ext cx="2736850" cy="715803"/>
          </a:xfrm>
        </p:spPr>
        <p:txBody>
          <a:bodyPr lIns="216000" rIns="216000" anchor="t"/>
          <a:lstStyle>
            <a:lvl1pPr marL="0" indent="-12700" algn="ctr" rtl="0">
              <a:lnSpc>
                <a:spcPct val="95000"/>
              </a:lnSpc>
              <a:spcBef>
                <a:spcPts val="0"/>
              </a:spcBef>
              <a:buNone/>
              <a:tabLst/>
              <a:defRPr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add Name of presenter and</a:t>
            </a:r>
            <a:br>
              <a:rPr lang="en-US" noProof="0"/>
            </a:br>
            <a:r>
              <a:rPr lang="en-US" noProof="0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209320963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Agenda Ar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5864EEA3-B7F9-A8AB-329D-75F7A51FFE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288073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7" imgH="277" progId="TCLayout.ActiveDocument.1">
                  <p:embed/>
                </p:oleObj>
              </mc:Choice>
              <mc:Fallback>
                <p:oleObj name="think-cell Folie" r:id="rId3" imgW="277" imgH="277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5864EEA3-B7F9-A8AB-329D-75F7A51FFE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ktangel 8">
            <a:extLst>
              <a:ext uri="{FF2B5EF4-FFF2-40B4-BE49-F238E27FC236}">
                <a16:creationId xmlns:a16="http://schemas.microsoft.com/office/drawing/2014/main" id="{4DCAD1AE-8D97-2642-99F1-C37A733B7968}"/>
              </a:ext>
            </a:extLst>
          </p:cNvPr>
          <p:cNvSpPr/>
          <p:nvPr userDrawn="1"/>
        </p:nvSpPr>
        <p:spPr>
          <a:xfrm>
            <a:off x="179388" y="158750"/>
            <a:ext cx="5761037" cy="468153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12" name="Platshållare för text 11">
            <a:extLst>
              <a:ext uri="{FF2B5EF4-FFF2-40B4-BE49-F238E27FC236}">
                <a16:creationId xmlns:a16="http://schemas.microsoft.com/office/drawing/2014/main" id="{D84E0A46-5973-4E46-9096-4F1FFEB637F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3851" y="1093013"/>
            <a:ext cx="5616574" cy="3529178"/>
          </a:xfrm>
        </p:spPr>
        <p:txBody>
          <a:bodyPr rIns="216000"/>
          <a:lstStyle>
            <a:lvl1pPr marL="266700" indent="-266700" rtl="0">
              <a:lnSpc>
                <a:spcPct val="95000"/>
              </a:lnSpc>
              <a:spcBef>
                <a:spcPts val="0"/>
              </a:spcBef>
              <a:spcAft>
                <a:spcPts val="1000"/>
              </a:spcAft>
              <a:buFontTx/>
              <a:buBlip>
                <a:blip r:embed="rId5"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</a:buBlip>
              <a:tabLst/>
              <a:defRPr sz="1800" b="1"/>
            </a:lvl1pPr>
            <a:lvl2pPr marL="15875" indent="-15875">
              <a:tabLst/>
              <a:defRPr sz="2400" b="1"/>
            </a:lvl2pPr>
            <a:lvl3pPr marL="15875" indent="-15875">
              <a:tabLst/>
              <a:defRPr sz="2400" b="1"/>
            </a:lvl3pPr>
            <a:lvl4pPr marL="15875" indent="-15875">
              <a:tabLst/>
              <a:defRPr sz="2400" b="1"/>
            </a:lvl4pPr>
            <a:lvl5pPr marL="15875" indent="-15875">
              <a:tabLst/>
              <a:defRPr sz="2400" b="1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38" name="Date Placeholder 3">
            <a:extLst>
              <a:ext uri="{FF2B5EF4-FFF2-40B4-BE49-F238E27FC236}">
                <a16:creationId xmlns:a16="http://schemas.microsoft.com/office/drawing/2014/main" id="{B7D04508-015B-A24C-A068-9517A03041E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287" y="4901296"/>
            <a:ext cx="2948826" cy="1152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 rtl="0">
              <a:defRPr sz="600" b="0">
                <a:solidFill>
                  <a:srgbClr val="737373"/>
                </a:solidFill>
              </a:defRPr>
            </a:lvl1pPr>
          </a:lstStyle>
          <a:p>
            <a:fld id="{0A9DE5D8-841A-4A5A-B472-6E19E63755BE}" type="datetime1">
              <a:rPr lang="en-US" smtClean="0"/>
              <a:pPr/>
              <a:t>8/29/2025</a:t>
            </a:fld>
            <a:endParaRPr lang="en-US"/>
          </a:p>
        </p:txBody>
      </p:sp>
      <p:sp>
        <p:nvSpPr>
          <p:cNvPr id="39" name="Slide Number Placeholder 5">
            <a:extLst>
              <a:ext uri="{FF2B5EF4-FFF2-40B4-BE49-F238E27FC236}">
                <a16:creationId xmlns:a16="http://schemas.microsoft.com/office/drawing/2014/main" id="{24E3E452-24F0-1B44-9014-429AC576B5B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40418" y="5003474"/>
            <a:ext cx="324294" cy="8245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 rtl="0">
              <a:defRPr sz="600" b="0">
                <a:solidFill>
                  <a:srgbClr val="737373"/>
                </a:solidFill>
              </a:defRPr>
            </a:lvl1pPr>
          </a:lstStyle>
          <a:p>
            <a:fld id="{17CD396C-6A52-4D5A-BAE3-92A1CC3BBDE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Platshållare för bild 3">
            <a:extLst>
              <a:ext uri="{FF2B5EF4-FFF2-40B4-BE49-F238E27FC236}">
                <a16:creationId xmlns:a16="http://schemas.microsoft.com/office/drawing/2014/main" id="{69385D67-02A2-3847-B925-568E12036F0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84887" y="158750"/>
            <a:ext cx="2879725" cy="4681538"/>
          </a:xfrm>
          <a:blipFill dpi="0" rotWithShape="1">
            <a:blip r:embed="rId7"/>
            <a:srcRect/>
            <a:tile tx="0" ty="0" sx="100000" sy="100000" flip="none" algn="tl"/>
          </a:blipFill>
        </p:spPr>
        <p:txBody>
          <a:bodyPr/>
          <a:lstStyle>
            <a:lvl1pPr algn="ctr" rtl="0">
              <a:buNone/>
              <a:defRPr sz="8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en-US" noProof="0"/>
              <a:t>Click on the icon to add an image</a:t>
            </a:r>
          </a:p>
        </p:txBody>
      </p:sp>
      <p:sp>
        <p:nvSpPr>
          <p:cNvPr id="13" name="Platshållare för sidfot 6">
            <a:extLst>
              <a:ext uri="{FF2B5EF4-FFF2-40B4-BE49-F238E27FC236}">
                <a16:creationId xmlns:a16="http://schemas.microsoft.com/office/drawing/2014/main" id="{B10204F0-D72F-7C43-9047-C52F851EBA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84887" y="4901296"/>
            <a:ext cx="2879823" cy="1152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 rtl="0">
              <a:defRPr sz="600">
                <a:solidFill>
                  <a:srgbClr val="737373"/>
                </a:solidFill>
              </a:defRPr>
            </a:lvl1pPr>
          </a:lstStyle>
          <a:p>
            <a:r>
              <a:rPr lang="en-US"/>
              <a:t>Go to header/footer to change text </a:t>
            </a:r>
          </a:p>
          <a:p>
            <a:endParaRPr lang="en-US"/>
          </a:p>
        </p:txBody>
      </p:sp>
      <p:sp>
        <p:nvSpPr>
          <p:cNvPr id="17" name="Rubrik 1">
            <a:extLst>
              <a:ext uri="{FF2B5EF4-FFF2-40B4-BE49-F238E27FC236}">
                <a16:creationId xmlns:a16="http://schemas.microsoft.com/office/drawing/2014/main" id="{2A7B5CC4-3731-AB42-B5BE-731595BD84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850" y="239375"/>
            <a:ext cx="5616574" cy="625283"/>
          </a:xfrm>
        </p:spPr>
        <p:txBody>
          <a:bodyPr vert="horz" rIns="216000"/>
          <a:lstStyle>
            <a:lvl1pPr rtl="0">
              <a:defRPr sz="3000" spc="-70" baseline="0"/>
            </a:lvl1pPr>
          </a:lstStyle>
          <a:p>
            <a:r>
              <a:rPr lang="en-US"/>
              <a:t>Add agenda headline</a:t>
            </a:r>
          </a:p>
        </p:txBody>
      </p:sp>
    </p:spTree>
    <p:extLst>
      <p:ext uri="{BB962C8B-B14F-4D97-AF65-F5344CB8AC3E}">
        <p14:creationId xmlns:p14="http://schemas.microsoft.com/office/powerpoint/2010/main" val="28825397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Agenda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E7E9AB5B-D6F9-517C-94B7-100FF3FBA8B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03607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7" imgH="277" progId="TCLayout.ActiveDocument.1">
                  <p:embed/>
                </p:oleObj>
              </mc:Choice>
              <mc:Fallback>
                <p:oleObj name="think-cell Folie" r:id="rId3" imgW="277" imgH="277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E7E9AB5B-D6F9-517C-94B7-100FF3FBA8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ktangel 8">
            <a:extLst>
              <a:ext uri="{FF2B5EF4-FFF2-40B4-BE49-F238E27FC236}">
                <a16:creationId xmlns:a16="http://schemas.microsoft.com/office/drawing/2014/main" id="{4DCAD1AE-8D97-2642-99F1-C37A733B7968}"/>
              </a:ext>
            </a:extLst>
          </p:cNvPr>
          <p:cNvSpPr/>
          <p:nvPr userDrawn="1"/>
        </p:nvSpPr>
        <p:spPr>
          <a:xfrm>
            <a:off x="179388" y="158750"/>
            <a:ext cx="5761037" cy="468153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12" name="Platshållare för text 11">
            <a:extLst>
              <a:ext uri="{FF2B5EF4-FFF2-40B4-BE49-F238E27FC236}">
                <a16:creationId xmlns:a16="http://schemas.microsoft.com/office/drawing/2014/main" id="{D84E0A46-5973-4E46-9096-4F1FFEB637F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3851" y="1093013"/>
            <a:ext cx="5616574" cy="3529178"/>
          </a:xfrm>
        </p:spPr>
        <p:txBody>
          <a:bodyPr rIns="216000"/>
          <a:lstStyle>
            <a:lvl1pPr marL="342900" indent="-342900" rtl="0">
              <a:lnSpc>
                <a:spcPct val="95000"/>
              </a:lnSpc>
              <a:spcBef>
                <a:spcPts val="0"/>
              </a:spcBef>
              <a:spcAft>
                <a:spcPts val="1000"/>
              </a:spcAft>
              <a:buFont typeface="+mj-lt"/>
              <a:buAutoNum type="arabicPeriod"/>
              <a:tabLst/>
              <a:defRPr sz="1800" b="1"/>
            </a:lvl1pPr>
            <a:lvl2pPr marL="15875" indent="-15875">
              <a:tabLst/>
              <a:defRPr sz="2400" b="1"/>
            </a:lvl2pPr>
            <a:lvl3pPr marL="15875" indent="-15875">
              <a:tabLst/>
              <a:defRPr sz="2400" b="1"/>
            </a:lvl3pPr>
            <a:lvl4pPr marL="15875" indent="-15875">
              <a:tabLst/>
              <a:defRPr sz="2400" b="1"/>
            </a:lvl4pPr>
            <a:lvl5pPr marL="15875" indent="-15875">
              <a:tabLst/>
              <a:defRPr sz="2400" b="1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38" name="Date Placeholder 3">
            <a:extLst>
              <a:ext uri="{FF2B5EF4-FFF2-40B4-BE49-F238E27FC236}">
                <a16:creationId xmlns:a16="http://schemas.microsoft.com/office/drawing/2014/main" id="{B7D04508-015B-A24C-A068-9517A03041E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287" y="4901296"/>
            <a:ext cx="2948826" cy="1152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 rtl="0">
              <a:defRPr sz="600" b="0">
                <a:solidFill>
                  <a:srgbClr val="737373"/>
                </a:solidFill>
              </a:defRPr>
            </a:lvl1pPr>
          </a:lstStyle>
          <a:p>
            <a:fld id="{7ABD39C4-FD7D-4687-8BE4-3D00254C5222}" type="datetime1">
              <a:rPr lang="en-US" smtClean="0"/>
              <a:pPr/>
              <a:t>8/29/2025</a:t>
            </a:fld>
            <a:endParaRPr lang="en-US"/>
          </a:p>
        </p:txBody>
      </p:sp>
      <p:sp>
        <p:nvSpPr>
          <p:cNvPr id="39" name="Slide Number Placeholder 5">
            <a:extLst>
              <a:ext uri="{FF2B5EF4-FFF2-40B4-BE49-F238E27FC236}">
                <a16:creationId xmlns:a16="http://schemas.microsoft.com/office/drawing/2014/main" id="{24E3E452-24F0-1B44-9014-429AC576B5B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40418" y="5003474"/>
            <a:ext cx="324294" cy="8245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 rtl="0">
              <a:defRPr sz="600" b="0">
                <a:solidFill>
                  <a:srgbClr val="737373"/>
                </a:solidFill>
              </a:defRPr>
            </a:lvl1pPr>
          </a:lstStyle>
          <a:p>
            <a:fld id="{17CD396C-6A52-4D5A-BAE3-92A1CC3BBDE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Platshållare för bild 3">
            <a:extLst>
              <a:ext uri="{FF2B5EF4-FFF2-40B4-BE49-F238E27FC236}">
                <a16:creationId xmlns:a16="http://schemas.microsoft.com/office/drawing/2014/main" id="{69385D67-02A2-3847-B925-568E12036F0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84887" y="158750"/>
            <a:ext cx="2879725" cy="4681538"/>
          </a:xfrm>
          <a:blipFill>
            <a:blip r:embed="rId5"/>
            <a:tile tx="0" ty="0" sx="100000" sy="100000" flip="none" algn="tl"/>
          </a:blipFill>
        </p:spPr>
        <p:txBody>
          <a:bodyPr/>
          <a:lstStyle>
            <a:lvl1pPr algn="ctr" rtl="0">
              <a:buNone/>
              <a:defRPr sz="8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en-US" noProof="0"/>
              <a:t>Click on the icon to add an image</a:t>
            </a:r>
          </a:p>
        </p:txBody>
      </p:sp>
      <p:sp>
        <p:nvSpPr>
          <p:cNvPr id="13" name="Platshållare för sidfot 6">
            <a:extLst>
              <a:ext uri="{FF2B5EF4-FFF2-40B4-BE49-F238E27FC236}">
                <a16:creationId xmlns:a16="http://schemas.microsoft.com/office/drawing/2014/main" id="{B10204F0-D72F-7C43-9047-C52F851EBA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84887" y="4901296"/>
            <a:ext cx="2879823" cy="1152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 rtl="0">
              <a:defRPr sz="600">
                <a:solidFill>
                  <a:srgbClr val="737373"/>
                </a:solidFill>
              </a:defRPr>
            </a:lvl1pPr>
          </a:lstStyle>
          <a:p>
            <a:r>
              <a:rPr lang="en-US"/>
              <a:t>Go to header/footer to change text </a:t>
            </a:r>
          </a:p>
          <a:p>
            <a:endParaRPr lang="en-US"/>
          </a:p>
        </p:txBody>
      </p:sp>
      <p:sp>
        <p:nvSpPr>
          <p:cNvPr id="17" name="Rubrik 1">
            <a:extLst>
              <a:ext uri="{FF2B5EF4-FFF2-40B4-BE49-F238E27FC236}">
                <a16:creationId xmlns:a16="http://schemas.microsoft.com/office/drawing/2014/main" id="{2A7B5CC4-3731-AB42-B5BE-731595BD84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850" y="239375"/>
            <a:ext cx="5616574" cy="625283"/>
          </a:xfrm>
        </p:spPr>
        <p:txBody>
          <a:bodyPr vert="horz" rIns="216000"/>
          <a:lstStyle>
            <a:lvl1pPr rtl="0">
              <a:defRPr sz="3000" spc="-70" baseline="0"/>
            </a:lvl1pPr>
          </a:lstStyle>
          <a:p>
            <a:r>
              <a:rPr lang="en-US"/>
              <a:t>Add agenda headline</a:t>
            </a:r>
          </a:p>
        </p:txBody>
      </p:sp>
    </p:spTree>
    <p:extLst>
      <p:ext uri="{BB962C8B-B14F-4D97-AF65-F5344CB8AC3E}">
        <p14:creationId xmlns:p14="http://schemas.microsoft.com/office/powerpoint/2010/main" val="8601460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pter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0E37459-0DD3-AEF0-0979-C4007E28E5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02575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7" imgH="277" progId="TCLayout.ActiveDocument.1">
                  <p:embed/>
                </p:oleObj>
              </mc:Choice>
              <mc:Fallback>
                <p:oleObj name="think-cell Folie" r:id="rId3" imgW="277" imgH="277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0E37459-0DD3-AEF0-0979-C4007E28E5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38CA3AD7-12F8-9F43-820D-33071C26D41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287" y="4901296"/>
            <a:ext cx="2948826" cy="1152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 rtl="0">
              <a:defRPr sz="600" b="0">
                <a:solidFill>
                  <a:srgbClr val="737373"/>
                </a:solidFill>
              </a:defRPr>
            </a:lvl1pPr>
          </a:lstStyle>
          <a:p>
            <a:fld id="{DD17735E-8F99-451B-9986-A4BE692C69E4}" type="datetime1">
              <a:rPr lang="en-US" smtClean="0"/>
              <a:pPr/>
              <a:t>8/29/2025</a:t>
            </a:fld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DFED6C3B-4A73-344C-A9A5-F822417888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40418" y="5003474"/>
            <a:ext cx="324294" cy="8245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 rtl="0">
              <a:defRPr sz="600" b="0">
                <a:solidFill>
                  <a:srgbClr val="737373"/>
                </a:solidFill>
              </a:defRPr>
            </a:lvl1pPr>
          </a:lstStyle>
          <a:p>
            <a:fld id="{17CD396C-6A52-4D5A-BAE3-92A1CC3BBDE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Platshållare för bild 2">
            <a:extLst>
              <a:ext uri="{FF2B5EF4-FFF2-40B4-BE49-F238E27FC236}">
                <a16:creationId xmlns:a16="http://schemas.microsoft.com/office/drawing/2014/main" id="{25798999-2A1E-2547-A8D5-4373B7132ADB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79388" y="158750"/>
            <a:ext cx="8785322" cy="4681538"/>
          </a:xfrm>
          <a:blipFill dpi="0" rotWithShape="1">
            <a:blip r:embed="rId5"/>
            <a:srcRect/>
            <a:tile tx="0" ty="0" sx="100000" sy="100000" flip="none" algn="tl"/>
          </a:blipFill>
        </p:spPr>
        <p:txBody>
          <a:bodyPr/>
          <a:lstStyle>
            <a:lvl1pPr algn="ctr" rtl="0">
              <a:buNone/>
              <a:defRPr sz="8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en-US" noProof="0"/>
              <a:t>Click on the icon to add an image</a:t>
            </a:r>
          </a:p>
        </p:txBody>
      </p:sp>
      <p:sp>
        <p:nvSpPr>
          <p:cNvPr id="30" name="Platshållare för text 15">
            <a:extLst>
              <a:ext uri="{FF2B5EF4-FFF2-40B4-BE49-F238E27FC236}">
                <a16:creationId xmlns:a16="http://schemas.microsoft.com/office/drawing/2014/main" id="{E89B3305-CD61-6F45-85AE-0AF738D5690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63713" y="276226"/>
            <a:ext cx="5616575" cy="276999"/>
          </a:xfrm>
        </p:spPr>
        <p:txBody>
          <a:bodyPr lIns="216000" rIns="216000" anchor="t"/>
          <a:lstStyle>
            <a:lvl1pPr marL="3175" indent="-3175" algn="ctr" rtl="0">
              <a:buNone/>
              <a:tabLst/>
              <a:defRPr sz="1200" b="1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add navigation/chapter tracker</a:t>
            </a:r>
          </a:p>
        </p:txBody>
      </p:sp>
      <p:sp>
        <p:nvSpPr>
          <p:cNvPr id="8" name="Rubrik 5">
            <a:extLst>
              <a:ext uri="{FF2B5EF4-FFF2-40B4-BE49-F238E27FC236}">
                <a16:creationId xmlns:a16="http://schemas.microsoft.com/office/drawing/2014/main" id="{D0286019-1596-CC4C-95F2-E2F7E54FE8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0" y="1719827"/>
            <a:ext cx="8496000" cy="1560972"/>
          </a:xfrm>
        </p:spPr>
        <p:txBody>
          <a:bodyPr vert="horz" lIns="216000" rIns="216000" anchor="ctr"/>
          <a:lstStyle>
            <a:lvl1pPr algn="ctr" rtl="0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add chapter </a:t>
            </a:r>
            <a:br>
              <a:rPr lang="en-US" noProof="0"/>
            </a:br>
            <a:r>
              <a:rPr lang="en-US" noProof="0"/>
              <a:t>or divider text</a:t>
            </a:r>
          </a:p>
        </p:txBody>
      </p:sp>
      <p:sp>
        <p:nvSpPr>
          <p:cNvPr id="9" name="Platshållare för sidfot 6">
            <a:extLst>
              <a:ext uri="{FF2B5EF4-FFF2-40B4-BE49-F238E27FC236}">
                <a16:creationId xmlns:a16="http://schemas.microsoft.com/office/drawing/2014/main" id="{8C9F6B2B-126D-5341-B841-385A749EDBF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84887" y="4901296"/>
            <a:ext cx="2879823" cy="1152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 rtl="0">
              <a:defRPr sz="600">
                <a:solidFill>
                  <a:srgbClr val="737373"/>
                </a:solidFill>
              </a:defRPr>
            </a:lvl1pPr>
          </a:lstStyle>
          <a:p>
            <a:r>
              <a:rPr lang="en-US"/>
              <a:t>Go to header/footer to change text 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3758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tatement/Insigh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A3B295B6-E4B4-8478-C2EF-65A1E3D923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080655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7" imgH="277" progId="TCLayout.ActiveDocument.1">
                  <p:embed/>
                </p:oleObj>
              </mc:Choice>
              <mc:Fallback>
                <p:oleObj name="think-cell Folie" r:id="rId3" imgW="277" imgH="277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A3B295B6-E4B4-8478-C2EF-65A1E3D923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38CA3AD7-12F8-9F43-820D-33071C26D41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287" y="4901296"/>
            <a:ext cx="2948826" cy="1152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 rtl="0">
              <a:defRPr sz="600" b="0">
                <a:solidFill>
                  <a:srgbClr val="737373"/>
                </a:solidFill>
              </a:defRPr>
            </a:lvl1pPr>
          </a:lstStyle>
          <a:p>
            <a:fld id="{12E2467F-F240-402C-B26D-7126F1861995}" type="datetime1">
              <a:rPr lang="en-US" smtClean="0"/>
              <a:pPr/>
              <a:t>8/29/2025</a:t>
            </a:fld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DFED6C3B-4A73-344C-A9A5-F822417888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40418" y="5003474"/>
            <a:ext cx="324294" cy="8245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 rtl="0">
              <a:defRPr sz="600" b="0">
                <a:solidFill>
                  <a:srgbClr val="737373"/>
                </a:solidFill>
              </a:defRPr>
            </a:lvl1pPr>
          </a:lstStyle>
          <a:p>
            <a:fld id="{17CD396C-6A52-4D5A-BAE3-92A1CC3BBDE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Rubrik 5">
            <a:extLst>
              <a:ext uri="{FF2B5EF4-FFF2-40B4-BE49-F238E27FC236}">
                <a16:creationId xmlns:a16="http://schemas.microsoft.com/office/drawing/2014/main" id="{A55878FD-9E3E-1D42-8830-1CCBED7F67B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0" y="1719827"/>
            <a:ext cx="8496000" cy="1560972"/>
          </a:xfrm>
        </p:spPr>
        <p:txBody>
          <a:bodyPr vert="horz" lIns="216000" rIns="216000" anchor="ctr"/>
          <a:lstStyle>
            <a:lvl1pPr algn="ctr" rtl="0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add statement </a:t>
            </a:r>
            <a:br>
              <a:rPr lang="en-US" noProof="0"/>
            </a:br>
            <a:r>
              <a:rPr lang="en-US" noProof="0"/>
              <a:t>or insight</a:t>
            </a:r>
          </a:p>
        </p:txBody>
      </p:sp>
      <p:sp>
        <p:nvSpPr>
          <p:cNvPr id="8" name="Platshållare för sidfot 6">
            <a:extLst>
              <a:ext uri="{FF2B5EF4-FFF2-40B4-BE49-F238E27FC236}">
                <a16:creationId xmlns:a16="http://schemas.microsoft.com/office/drawing/2014/main" id="{F76D3661-5BD5-6848-A702-AC0A276D4C4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84887" y="4901296"/>
            <a:ext cx="2879823" cy="1152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 rtl="0">
              <a:defRPr sz="600">
                <a:solidFill>
                  <a:srgbClr val="737373"/>
                </a:solidFill>
              </a:defRPr>
            </a:lvl1pPr>
          </a:lstStyle>
          <a:p>
            <a:r>
              <a:rPr lang="en-US"/>
              <a:t>Go to header/footer to change text 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98608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dified 1 (grey background)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3C056EC2-329B-6A56-0D2D-0ABF8A64D06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21959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7" imgH="277" progId="TCLayout.ActiveDocument.1">
                  <p:embed/>
                </p:oleObj>
              </mc:Choice>
              <mc:Fallback>
                <p:oleObj name="think-cell Folie" r:id="rId3" imgW="277" imgH="277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3C056EC2-329B-6A56-0D2D-0ABF8A64D0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C57FF860-80C4-F544-9349-277B28F447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A532A38C-03E8-4C6A-BB78-D2583361EB24}" type="datetime1">
              <a:rPr lang="en-US" smtClean="0"/>
              <a:pPr/>
              <a:t>8/29/2025</a:t>
            </a:fld>
            <a:endParaRPr lang="en-US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61938E86-6CF5-9C42-AB2F-96E9B547A11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17CD396C-6A52-4D5A-BAE3-92A1CC3BBDE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Platshållare för text 15">
            <a:extLst>
              <a:ext uri="{FF2B5EF4-FFF2-40B4-BE49-F238E27FC236}">
                <a16:creationId xmlns:a16="http://schemas.microsoft.com/office/drawing/2014/main" id="{03424855-B277-8744-9C85-9975925B820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3849" y="276226"/>
            <a:ext cx="5616575" cy="276999"/>
          </a:xfrm>
        </p:spPr>
        <p:txBody>
          <a:bodyPr lIns="111600" rIns="216000" anchor="t"/>
          <a:lstStyle>
            <a:lvl1pPr marL="3175" indent="-3175" rtl="0">
              <a:buNone/>
              <a:tabLst/>
              <a:defRPr sz="12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add navigation/subheader</a:t>
            </a:r>
          </a:p>
        </p:txBody>
      </p:sp>
      <p:sp>
        <p:nvSpPr>
          <p:cNvPr id="19" name="Platshållare för text 18">
            <a:extLst>
              <a:ext uri="{FF2B5EF4-FFF2-40B4-BE49-F238E27FC236}">
                <a16:creationId xmlns:a16="http://schemas.microsoft.com/office/drawing/2014/main" id="{4615DFA7-0616-B744-975C-88C9447A199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3848" y="4611600"/>
            <a:ext cx="5414400" cy="142886"/>
          </a:xfrm>
        </p:spPr>
        <p:txBody>
          <a:bodyPr lIns="111600" tIns="0" bIns="0" anchor="ctr"/>
          <a:lstStyle>
            <a:lvl1pPr rtl="0">
              <a:buNone/>
              <a:defRPr sz="600"/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/>
            <a:r>
              <a:rPr lang="en-US" noProof="0"/>
              <a:t>*Click to add footnotes</a:t>
            </a:r>
          </a:p>
        </p:txBody>
      </p:sp>
      <p:sp>
        <p:nvSpPr>
          <p:cNvPr id="16" name="Rubrik 1">
            <a:extLst>
              <a:ext uri="{FF2B5EF4-FFF2-40B4-BE49-F238E27FC236}">
                <a16:creationId xmlns:a16="http://schemas.microsoft.com/office/drawing/2014/main" id="{29C1BAB5-302C-E24B-AF46-F5810100CE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850" y="545326"/>
            <a:ext cx="8496299" cy="741454"/>
          </a:xfrm>
        </p:spPr>
        <p:txBody>
          <a:bodyPr vert="horz" rIns="216000"/>
          <a:lstStyle>
            <a:lvl1pPr rtl="0">
              <a:defRPr spc="-50" baseline="0"/>
            </a:lvl1pPr>
          </a:lstStyle>
          <a:p>
            <a:r>
              <a:rPr lang="en-US" noProof="0"/>
              <a:t>Click to add a headline of maximum two lines</a:t>
            </a:r>
          </a:p>
        </p:txBody>
      </p:sp>
      <p:sp>
        <p:nvSpPr>
          <p:cNvPr id="21" name="Platshållare för text 16">
            <a:extLst>
              <a:ext uri="{FF2B5EF4-FFF2-40B4-BE49-F238E27FC236}">
                <a16:creationId xmlns:a16="http://schemas.microsoft.com/office/drawing/2014/main" id="{57967130-C256-E443-BF6D-9CFC31CE5F7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3850" y="1360488"/>
            <a:ext cx="8496300" cy="307568"/>
          </a:xfrm>
        </p:spPr>
        <p:txBody>
          <a:bodyPr lIns="97200" rIns="216000"/>
          <a:lstStyle>
            <a:lvl1pPr marL="0" indent="0" algn="l" rtl="0">
              <a:lnSpc>
                <a:spcPct val="95000"/>
              </a:lnSpc>
              <a:spcBef>
                <a:spcPts val="0"/>
              </a:spcBef>
              <a:buNone/>
              <a:tabLst/>
              <a:defRPr sz="1600" b="1" spc="0" baseline="0"/>
            </a:lvl1pPr>
            <a:lvl2pPr marL="14288" indent="0" algn="ctr">
              <a:tabLst/>
              <a:defRPr/>
            </a:lvl2pPr>
            <a:lvl3pPr marL="14288" indent="0" algn="ctr">
              <a:tabLst/>
              <a:defRPr/>
            </a:lvl3pPr>
            <a:lvl4pPr marL="14288" indent="0" algn="ctr">
              <a:tabLst/>
              <a:defRPr/>
            </a:lvl4pPr>
            <a:lvl5pPr marL="14288" indent="0" algn="ctr">
              <a:tabLst/>
              <a:defRPr/>
            </a:lvl5pPr>
          </a:lstStyle>
          <a:p>
            <a:pPr lvl="0"/>
            <a:r>
              <a:rPr lang="en-US" noProof="0"/>
              <a:t>Click to add subheader</a:t>
            </a:r>
          </a:p>
        </p:txBody>
      </p:sp>
      <p:sp>
        <p:nvSpPr>
          <p:cNvPr id="11" name="Platshållare för sidfot 6">
            <a:extLst>
              <a:ext uri="{FF2B5EF4-FFF2-40B4-BE49-F238E27FC236}">
                <a16:creationId xmlns:a16="http://schemas.microsoft.com/office/drawing/2014/main" id="{4E4579F6-66FC-3140-A0B3-75F166B051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84887" y="4901296"/>
            <a:ext cx="2879823" cy="1152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 rtl="0">
              <a:defRPr sz="600">
                <a:solidFill>
                  <a:srgbClr val="737373"/>
                </a:solidFill>
              </a:defRPr>
            </a:lvl1pPr>
          </a:lstStyle>
          <a:p>
            <a:r>
              <a:rPr lang="en-US"/>
              <a:t>Go to header/footer to change text </a:t>
            </a:r>
          </a:p>
          <a:p>
            <a:endParaRPr lang="en-US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176A2B99-1CF2-D823-A599-AFD2F62BF5A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23850" y="1724025"/>
            <a:ext cx="8496300" cy="288925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Mastertextformat bearbeiten</a:t>
            </a:r>
          </a:p>
          <a:p>
            <a:pPr lvl="1"/>
            <a:r>
              <a:rPr lang="en-US"/>
              <a:t>Zweite Ebene</a:t>
            </a:r>
          </a:p>
          <a:p>
            <a:pPr lvl="2"/>
            <a:r>
              <a:rPr lang="en-US"/>
              <a:t>Dritte Ebene</a:t>
            </a:r>
          </a:p>
          <a:p>
            <a:pPr lvl="3"/>
            <a:r>
              <a:rPr lang="en-US"/>
              <a:t>Vierte Ebene</a:t>
            </a:r>
          </a:p>
          <a:p>
            <a:pPr lvl="4"/>
            <a:r>
              <a:rPr lang="en-US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7359304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tatement/Ins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506E5A99-A5F3-1382-C8CC-C630DD3D9B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14386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7" imgH="277" progId="TCLayout.ActiveDocument.1">
                  <p:embed/>
                </p:oleObj>
              </mc:Choice>
              <mc:Fallback>
                <p:oleObj name="think-cell Folie" r:id="rId3" imgW="277" imgH="277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506E5A99-A5F3-1382-C8CC-C630DD3D9B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38CA3AD7-12F8-9F43-820D-33071C26D41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287" y="4901296"/>
            <a:ext cx="2948826" cy="1152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 rtl="0">
              <a:defRPr sz="600" b="0">
                <a:solidFill>
                  <a:srgbClr val="737373"/>
                </a:solidFill>
              </a:defRPr>
            </a:lvl1pPr>
          </a:lstStyle>
          <a:p>
            <a:fld id="{BE7CE9D9-AA2E-4C15-9979-2C3138B788DA}" type="datetime1">
              <a:rPr lang="en-US" smtClean="0"/>
              <a:pPr/>
              <a:t>8/29/2025</a:t>
            </a:fld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DFED6C3B-4A73-344C-A9A5-F822417888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40418" y="5003474"/>
            <a:ext cx="324294" cy="8245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 rtl="0">
              <a:defRPr sz="600" b="0">
                <a:solidFill>
                  <a:srgbClr val="737373"/>
                </a:solidFill>
              </a:defRPr>
            </a:lvl1pPr>
          </a:lstStyle>
          <a:p>
            <a:fld id="{17CD396C-6A52-4D5A-BAE3-92A1CC3BBDE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Platshållare för bild 2">
            <a:extLst>
              <a:ext uri="{FF2B5EF4-FFF2-40B4-BE49-F238E27FC236}">
                <a16:creationId xmlns:a16="http://schemas.microsoft.com/office/drawing/2014/main" id="{25798999-2A1E-2547-A8D5-4373B7132ADB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79388" y="158750"/>
            <a:ext cx="8785322" cy="4681538"/>
          </a:xfrm>
          <a:blipFill>
            <a:blip r:embed="rId5"/>
            <a:tile tx="0" ty="0" sx="100000" sy="100000" flip="none" algn="tl"/>
          </a:blipFill>
        </p:spPr>
        <p:txBody>
          <a:bodyPr/>
          <a:lstStyle>
            <a:lvl1pPr algn="ctr" rtl="0">
              <a:buNone/>
              <a:defRPr sz="8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en-US" noProof="0"/>
              <a:t>Click on the icon to add an image</a:t>
            </a:r>
          </a:p>
        </p:txBody>
      </p:sp>
      <p:sp>
        <p:nvSpPr>
          <p:cNvPr id="7" name="Rubrik 5">
            <a:extLst>
              <a:ext uri="{FF2B5EF4-FFF2-40B4-BE49-F238E27FC236}">
                <a16:creationId xmlns:a16="http://schemas.microsoft.com/office/drawing/2014/main" id="{A55878FD-9E3E-1D42-8830-1CCBED7F67B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0" y="1719827"/>
            <a:ext cx="8496000" cy="1560972"/>
          </a:xfrm>
        </p:spPr>
        <p:txBody>
          <a:bodyPr vert="horz" lIns="216000" rIns="216000" anchor="ctr"/>
          <a:lstStyle>
            <a:lvl1pPr algn="ctr" rtl="0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add statement </a:t>
            </a:r>
            <a:br>
              <a:rPr lang="en-US" noProof="0"/>
            </a:br>
            <a:r>
              <a:rPr lang="en-US" noProof="0"/>
              <a:t>or insight</a:t>
            </a:r>
          </a:p>
        </p:txBody>
      </p:sp>
      <p:sp>
        <p:nvSpPr>
          <p:cNvPr id="9" name="Platshållare för sidfot 6">
            <a:extLst>
              <a:ext uri="{FF2B5EF4-FFF2-40B4-BE49-F238E27FC236}">
                <a16:creationId xmlns:a16="http://schemas.microsoft.com/office/drawing/2014/main" id="{3AFBD1D1-32D7-814D-842E-EBEF1C14001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84887" y="4901296"/>
            <a:ext cx="2879823" cy="1152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 rtl="0">
              <a:defRPr sz="600">
                <a:solidFill>
                  <a:srgbClr val="737373"/>
                </a:solidFill>
              </a:defRPr>
            </a:lvl1pPr>
          </a:lstStyle>
          <a:p>
            <a:r>
              <a:rPr lang="en-US"/>
              <a:t>Go to header/footer to change text 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955303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Quot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E9358369-0C6D-AF8F-D64F-0FE57F1AF5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58904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7" imgH="277" progId="TCLayout.ActiveDocument.1">
                  <p:embed/>
                </p:oleObj>
              </mc:Choice>
              <mc:Fallback>
                <p:oleObj name="think-cell Folie" r:id="rId3" imgW="277" imgH="277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E9358369-0C6D-AF8F-D64F-0FE57F1AF5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38CA3AD7-12F8-9F43-820D-33071C26D41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287" y="4901296"/>
            <a:ext cx="2948826" cy="1152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 rtl="0">
              <a:defRPr sz="600" b="0">
                <a:solidFill>
                  <a:srgbClr val="737373"/>
                </a:solidFill>
              </a:defRPr>
            </a:lvl1pPr>
          </a:lstStyle>
          <a:p>
            <a:fld id="{844695F1-0A4B-4FC1-890D-57D115654876}" type="datetime1">
              <a:rPr lang="en-US" smtClean="0"/>
              <a:pPr/>
              <a:t>8/29/2025</a:t>
            </a:fld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DFED6C3B-4A73-344C-A9A5-F822417888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40418" y="5003474"/>
            <a:ext cx="324294" cy="8245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 rtl="0">
              <a:defRPr sz="600" b="0">
                <a:solidFill>
                  <a:srgbClr val="737373"/>
                </a:solidFill>
              </a:defRPr>
            </a:lvl1pPr>
          </a:lstStyle>
          <a:p>
            <a:fld id="{17CD396C-6A52-4D5A-BAE3-92A1CC3BBDE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3" name="Platshållare för bild 32">
            <a:extLst>
              <a:ext uri="{FF2B5EF4-FFF2-40B4-BE49-F238E27FC236}">
                <a16:creationId xmlns:a16="http://schemas.microsoft.com/office/drawing/2014/main" id="{99FB47D4-AFE7-B043-97C1-A69890F347E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79388" y="158750"/>
            <a:ext cx="8785322" cy="4681538"/>
          </a:xfrm>
          <a:custGeom>
            <a:avLst/>
            <a:gdLst/>
            <a:ahLst/>
            <a:cxnLst/>
            <a:rect l="l" t="t" r="r" b="b"/>
            <a:pathLst>
              <a:path w="8785322" h="4681538">
                <a:moveTo>
                  <a:pt x="8379260" y="3874916"/>
                </a:moveTo>
                <a:lnTo>
                  <a:pt x="8379260" y="4136296"/>
                </a:lnTo>
                <a:lnTo>
                  <a:pt x="8504834" y="4136296"/>
                </a:lnTo>
                <a:cubicBezTo>
                  <a:pt x="8504214" y="4187766"/>
                  <a:pt x="8492586" y="4229003"/>
                  <a:pt x="8469952" y="4260009"/>
                </a:cubicBezTo>
                <a:cubicBezTo>
                  <a:pt x="8447318" y="4291015"/>
                  <a:pt x="8409956" y="4315200"/>
                  <a:pt x="8357866" y="4332563"/>
                </a:cubicBezTo>
                <a:lnTo>
                  <a:pt x="8409026" y="4441394"/>
                </a:lnTo>
                <a:cubicBezTo>
                  <a:pt x="8464216" y="4421550"/>
                  <a:pt x="8509950" y="4394110"/>
                  <a:pt x="8546226" y="4359073"/>
                </a:cubicBezTo>
                <a:cubicBezTo>
                  <a:pt x="8582503" y="4324036"/>
                  <a:pt x="8607308" y="4284814"/>
                  <a:pt x="8620640" y="4241406"/>
                </a:cubicBezTo>
                <a:cubicBezTo>
                  <a:pt x="8633973" y="4197998"/>
                  <a:pt x="8640639" y="4138466"/>
                  <a:pt x="8640639" y="4062812"/>
                </a:cubicBezTo>
                <a:lnTo>
                  <a:pt x="8640639" y="3874916"/>
                </a:lnTo>
                <a:close/>
                <a:moveTo>
                  <a:pt x="7940217" y="3874916"/>
                </a:moveTo>
                <a:lnTo>
                  <a:pt x="7940217" y="4136296"/>
                </a:lnTo>
                <a:lnTo>
                  <a:pt x="8066721" y="4136296"/>
                </a:lnTo>
                <a:cubicBezTo>
                  <a:pt x="8065481" y="4187766"/>
                  <a:pt x="8053699" y="4229003"/>
                  <a:pt x="8031374" y="4260009"/>
                </a:cubicBezTo>
                <a:cubicBezTo>
                  <a:pt x="8009050" y="4291015"/>
                  <a:pt x="7971533" y="4315200"/>
                  <a:pt x="7918823" y="4332563"/>
                </a:cubicBezTo>
                <a:lnTo>
                  <a:pt x="7969983" y="4441394"/>
                </a:lnTo>
                <a:cubicBezTo>
                  <a:pt x="8025793" y="4421550"/>
                  <a:pt x="8071837" y="4394110"/>
                  <a:pt x="8108114" y="4359073"/>
                </a:cubicBezTo>
                <a:cubicBezTo>
                  <a:pt x="8144391" y="4324036"/>
                  <a:pt x="8169040" y="4284814"/>
                  <a:pt x="8182063" y="4241406"/>
                </a:cubicBezTo>
                <a:cubicBezTo>
                  <a:pt x="8195085" y="4197998"/>
                  <a:pt x="8201597" y="4138466"/>
                  <a:pt x="8201597" y="4062812"/>
                </a:cubicBezTo>
                <a:lnTo>
                  <a:pt x="8201597" y="3874916"/>
                </a:lnTo>
                <a:close/>
                <a:moveTo>
                  <a:pt x="816817" y="173144"/>
                </a:moveTo>
                <a:cubicBezTo>
                  <a:pt x="761626" y="192988"/>
                  <a:pt x="715893" y="220273"/>
                  <a:pt x="679616" y="254999"/>
                </a:cubicBezTo>
                <a:cubicBezTo>
                  <a:pt x="643339" y="289726"/>
                  <a:pt x="618534" y="328793"/>
                  <a:pt x="605202" y="372202"/>
                </a:cubicBezTo>
                <a:cubicBezTo>
                  <a:pt x="591869" y="415610"/>
                  <a:pt x="585203" y="475451"/>
                  <a:pt x="585203" y="551726"/>
                </a:cubicBezTo>
                <a:lnTo>
                  <a:pt x="585203" y="738691"/>
                </a:lnTo>
                <a:lnTo>
                  <a:pt x="846582" y="738691"/>
                </a:lnTo>
                <a:lnTo>
                  <a:pt x="846582" y="477311"/>
                </a:lnTo>
                <a:lnTo>
                  <a:pt x="720078" y="477311"/>
                </a:lnTo>
                <a:cubicBezTo>
                  <a:pt x="721319" y="425842"/>
                  <a:pt x="733256" y="384604"/>
                  <a:pt x="755890" y="353598"/>
                </a:cubicBezTo>
                <a:cubicBezTo>
                  <a:pt x="778524" y="322592"/>
                  <a:pt x="815887" y="298408"/>
                  <a:pt x="867976" y="281044"/>
                </a:cubicBezTo>
                <a:close/>
                <a:moveTo>
                  <a:pt x="380564" y="173144"/>
                </a:moveTo>
                <a:cubicBezTo>
                  <a:pt x="324754" y="192988"/>
                  <a:pt x="278865" y="220273"/>
                  <a:pt x="242898" y="254999"/>
                </a:cubicBezTo>
                <a:cubicBezTo>
                  <a:pt x="206931" y="289726"/>
                  <a:pt x="182282" y="328948"/>
                  <a:pt x="168949" y="372667"/>
                </a:cubicBezTo>
                <a:cubicBezTo>
                  <a:pt x="155617" y="416385"/>
                  <a:pt x="148950" y="476071"/>
                  <a:pt x="148950" y="551726"/>
                </a:cubicBezTo>
                <a:lnTo>
                  <a:pt x="148950" y="738691"/>
                </a:lnTo>
                <a:lnTo>
                  <a:pt x="410330" y="738691"/>
                </a:lnTo>
                <a:lnTo>
                  <a:pt x="410330" y="477311"/>
                </a:lnTo>
                <a:lnTo>
                  <a:pt x="283826" y="477311"/>
                </a:lnTo>
                <a:cubicBezTo>
                  <a:pt x="285066" y="425842"/>
                  <a:pt x="297003" y="384604"/>
                  <a:pt x="319638" y="353598"/>
                </a:cubicBezTo>
                <a:cubicBezTo>
                  <a:pt x="342272" y="322592"/>
                  <a:pt x="379634" y="298408"/>
                  <a:pt x="431724" y="281044"/>
                </a:cubicBezTo>
                <a:close/>
                <a:moveTo>
                  <a:pt x="0" y="0"/>
                </a:moveTo>
                <a:lnTo>
                  <a:pt x="8785322" y="0"/>
                </a:lnTo>
                <a:lnTo>
                  <a:pt x="8785322" y="4681538"/>
                </a:lnTo>
                <a:lnTo>
                  <a:pt x="0" y="4681538"/>
                </a:lnTo>
                <a:close/>
              </a:path>
            </a:pathLst>
          </a:custGeom>
          <a:blipFill>
            <a:blip r:embed="rId5"/>
            <a:tile tx="0" ty="0" sx="100000" sy="100000" flip="none" algn="tl"/>
          </a:blipFill>
        </p:spPr>
        <p:txBody>
          <a:bodyPr wrap="square">
            <a:noAutofit/>
          </a:bodyPr>
          <a:lstStyle>
            <a:lvl1pPr algn="ctr" rtl="0">
              <a:buNone/>
              <a:defRPr sz="8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en-US" noProof="0"/>
              <a:t>Click on the icon to add an image</a:t>
            </a:r>
          </a:p>
        </p:txBody>
      </p:sp>
      <p:sp>
        <p:nvSpPr>
          <p:cNvPr id="29" name="Platshållare för text 14">
            <a:extLst>
              <a:ext uri="{FF2B5EF4-FFF2-40B4-BE49-F238E27FC236}">
                <a16:creationId xmlns:a16="http://schemas.microsoft.com/office/drawing/2014/main" id="{0752070A-41E1-7D46-9FFE-B3EB4F12E07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03575" y="3961777"/>
            <a:ext cx="2736850" cy="742286"/>
          </a:xfrm>
        </p:spPr>
        <p:txBody>
          <a:bodyPr anchor="t"/>
          <a:lstStyle>
            <a:lvl1pPr marL="0" indent="-12700" algn="ctr" rtl="0">
              <a:lnSpc>
                <a:spcPct val="95000"/>
              </a:lnSpc>
              <a:spcBef>
                <a:spcPts val="0"/>
              </a:spcBef>
              <a:buNone/>
              <a:tabLst/>
              <a:defRPr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– Source of quote</a:t>
            </a:r>
          </a:p>
        </p:txBody>
      </p:sp>
      <p:sp>
        <p:nvSpPr>
          <p:cNvPr id="8" name="Rubrik 5">
            <a:extLst>
              <a:ext uri="{FF2B5EF4-FFF2-40B4-BE49-F238E27FC236}">
                <a16:creationId xmlns:a16="http://schemas.microsoft.com/office/drawing/2014/main" id="{2AF8C6B0-2A99-6F45-B536-0E0C728FB3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0" y="1031010"/>
            <a:ext cx="8496000" cy="2937018"/>
          </a:xfrm>
        </p:spPr>
        <p:txBody>
          <a:bodyPr vert="horz" lIns="216000" rIns="216000" anchor="ctr"/>
          <a:lstStyle>
            <a:lvl1pPr algn="ctr" rtl="0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add inspiring quote</a:t>
            </a:r>
          </a:p>
        </p:txBody>
      </p:sp>
      <p:sp>
        <p:nvSpPr>
          <p:cNvPr id="9" name="Platshållare för sidfot 6">
            <a:extLst>
              <a:ext uri="{FF2B5EF4-FFF2-40B4-BE49-F238E27FC236}">
                <a16:creationId xmlns:a16="http://schemas.microsoft.com/office/drawing/2014/main" id="{D235B6C8-FB19-4544-A8A8-260345B89FF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84887" y="4901296"/>
            <a:ext cx="2879823" cy="1152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 rtl="0">
              <a:defRPr sz="600">
                <a:solidFill>
                  <a:srgbClr val="737373"/>
                </a:solidFill>
              </a:defRPr>
            </a:lvl1pPr>
          </a:lstStyle>
          <a:p>
            <a:r>
              <a:rPr lang="en-US"/>
              <a:t>Go to header/footer to change text 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76722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C156B0B3-D1C6-F22B-D247-E4C5577878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52679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7" imgH="277" progId="TCLayout.ActiveDocument.1">
                  <p:embed/>
                </p:oleObj>
              </mc:Choice>
              <mc:Fallback>
                <p:oleObj name="think-cell Folie" r:id="rId3" imgW="277" imgH="277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C156B0B3-D1C6-F22B-D247-E4C5577878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ubrik 5">
            <a:extLst>
              <a:ext uri="{FF2B5EF4-FFF2-40B4-BE49-F238E27FC236}">
                <a16:creationId xmlns:a16="http://schemas.microsoft.com/office/drawing/2014/main" id="{4F9BFEED-0E03-904F-9847-3F79E60C95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850" y="525600"/>
            <a:ext cx="4176713" cy="1583617"/>
          </a:xfrm>
        </p:spPr>
        <p:txBody>
          <a:bodyPr vert="horz" rIns="216000"/>
          <a:lstStyle>
            <a:lvl1pPr rtl="0">
              <a:defRPr sz="3000" spc="-70" baseline="0"/>
            </a:lvl1pPr>
          </a:lstStyle>
          <a:p>
            <a:r>
              <a:rPr lang="en-US" noProof="0"/>
              <a:t>Click to add a headline of maximum three lines</a:t>
            </a:r>
          </a:p>
        </p:txBody>
      </p:sp>
      <p:sp>
        <p:nvSpPr>
          <p:cNvPr id="12" name="Platshållare för text 11">
            <a:extLst>
              <a:ext uri="{FF2B5EF4-FFF2-40B4-BE49-F238E27FC236}">
                <a16:creationId xmlns:a16="http://schemas.microsoft.com/office/drawing/2014/main" id="{D84E0A46-5973-4E46-9096-4F1FFEB637F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3851" y="2103438"/>
            <a:ext cx="4176712" cy="2607170"/>
          </a:xfrm>
        </p:spPr>
        <p:txBody>
          <a:bodyPr rIns="216000"/>
          <a:lstStyle>
            <a:lvl1pPr rtl="0">
              <a:defRPr sz="1400"/>
            </a:lvl1pPr>
            <a:lvl2pPr rtl="0">
              <a:defRPr sz="1200"/>
            </a:lvl2pPr>
            <a:lvl3pPr rtl="0">
              <a:defRPr sz="1200"/>
            </a:lvl3pPr>
            <a:lvl4pPr rtl="0">
              <a:defRPr sz="1200"/>
            </a:lvl4pPr>
            <a:lvl5pPr rtl="0">
              <a:defRPr sz="1200"/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Platshållare för text 15">
            <a:extLst>
              <a:ext uri="{FF2B5EF4-FFF2-40B4-BE49-F238E27FC236}">
                <a16:creationId xmlns:a16="http://schemas.microsoft.com/office/drawing/2014/main" id="{CF7D2E26-08D8-5949-87B2-516D214C08A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3850" y="276226"/>
            <a:ext cx="4176713" cy="276999"/>
          </a:xfrm>
        </p:spPr>
        <p:txBody>
          <a:bodyPr lIns="111600" rIns="216000" anchor="t"/>
          <a:lstStyle>
            <a:lvl1pPr marL="3175" indent="-3175" rtl="0">
              <a:buNone/>
              <a:tabLst/>
              <a:defRPr sz="12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add navigation/chapter tracker</a:t>
            </a:r>
          </a:p>
          <a:p>
            <a:pPr lvl="0"/>
            <a:endParaRPr lang="en-US" noProof="0"/>
          </a:p>
        </p:txBody>
      </p:sp>
      <p:sp>
        <p:nvSpPr>
          <p:cNvPr id="4" name="Platshållare för bild 3">
            <a:extLst>
              <a:ext uri="{FF2B5EF4-FFF2-40B4-BE49-F238E27FC236}">
                <a16:creationId xmlns:a16="http://schemas.microsoft.com/office/drawing/2014/main" id="{0C18E683-E62F-A04E-9D50-572DEA18E06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643439" y="158750"/>
            <a:ext cx="4321272" cy="4681538"/>
          </a:xfrm>
          <a:blipFill>
            <a:blip r:embed="rId5"/>
            <a:tile tx="0" ty="0" sx="100000" sy="100000" flip="none" algn="tl"/>
          </a:blipFill>
        </p:spPr>
        <p:txBody>
          <a:bodyPr/>
          <a:lstStyle>
            <a:lvl1pPr algn="ctr" rtl="0">
              <a:buNone/>
              <a:defRPr sz="8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en-US" noProof="0"/>
              <a:t>Click on the icon to add an image</a:t>
            </a:r>
          </a:p>
        </p:txBody>
      </p:sp>
      <p:sp>
        <p:nvSpPr>
          <p:cNvPr id="38" name="Date Placeholder 3">
            <a:extLst>
              <a:ext uri="{FF2B5EF4-FFF2-40B4-BE49-F238E27FC236}">
                <a16:creationId xmlns:a16="http://schemas.microsoft.com/office/drawing/2014/main" id="{B7D04508-015B-A24C-A068-9517A03041E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287" y="4901296"/>
            <a:ext cx="2948826" cy="1152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 rtl="0">
              <a:defRPr sz="600" b="0">
                <a:solidFill>
                  <a:srgbClr val="737373"/>
                </a:solidFill>
              </a:defRPr>
            </a:lvl1pPr>
          </a:lstStyle>
          <a:p>
            <a:fld id="{9526ABED-A4C1-481F-B0C3-196254B0C656}" type="datetime1">
              <a:rPr lang="en-US" smtClean="0"/>
              <a:pPr/>
              <a:t>8/29/2025</a:t>
            </a:fld>
            <a:endParaRPr lang="en-US"/>
          </a:p>
        </p:txBody>
      </p:sp>
      <p:sp>
        <p:nvSpPr>
          <p:cNvPr id="39" name="Slide Number Placeholder 5">
            <a:extLst>
              <a:ext uri="{FF2B5EF4-FFF2-40B4-BE49-F238E27FC236}">
                <a16:creationId xmlns:a16="http://schemas.microsoft.com/office/drawing/2014/main" id="{24E3E452-24F0-1B44-9014-429AC576B5B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40418" y="5003474"/>
            <a:ext cx="324294" cy="8245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 rtl="0">
              <a:defRPr sz="600" b="0">
                <a:solidFill>
                  <a:srgbClr val="737373"/>
                </a:solidFill>
              </a:defRPr>
            </a:lvl1pPr>
          </a:lstStyle>
          <a:p>
            <a:fld id="{17CD396C-6A52-4D5A-BAE3-92A1CC3BBDE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Platshållare för sidfot 6">
            <a:extLst>
              <a:ext uri="{FF2B5EF4-FFF2-40B4-BE49-F238E27FC236}">
                <a16:creationId xmlns:a16="http://schemas.microsoft.com/office/drawing/2014/main" id="{9F273896-B1DA-2A4A-9AEB-368D26B986D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84887" y="4901296"/>
            <a:ext cx="2879823" cy="1152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 rtl="0">
              <a:defRPr sz="600">
                <a:solidFill>
                  <a:srgbClr val="737373"/>
                </a:solidFill>
              </a:defRPr>
            </a:lvl1pPr>
          </a:lstStyle>
          <a:p>
            <a:r>
              <a:rPr lang="en-US"/>
              <a:t>Go to header/footer to change text 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20907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Text and Sma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85166CA-0DDF-0AB7-85A4-CC2C7B5FF4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21557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7" imgH="277" progId="TCLayout.ActiveDocument.1">
                  <p:embed/>
                </p:oleObj>
              </mc:Choice>
              <mc:Fallback>
                <p:oleObj name="think-cell Folie" r:id="rId3" imgW="277" imgH="277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485166CA-0DDF-0AB7-85A4-CC2C7B5FF4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ubrik 5">
            <a:extLst>
              <a:ext uri="{FF2B5EF4-FFF2-40B4-BE49-F238E27FC236}">
                <a16:creationId xmlns:a16="http://schemas.microsoft.com/office/drawing/2014/main" id="{4F9BFEED-0E03-904F-9847-3F79E60C95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850" y="525600"/>
            <a:ext cx="5616576" cy="1498314"/>
          </a:xfrm>
        </p:spPr>
        <p:txBody>
          <a:bodyPr vert="horz" rIns="216000"/>
          <a:lstStyle>
            <a:lvl1pPr rtl="0">
              <a:defRPr sz="3000" spc="-70" baseline="0"/>
            </a:lvl1pPr>
          </a:lstStyle>
          <a:p>
            <a:r>
              <a:rPr lang="en-US" noProof="0"/>
              <a:t>Click to add a headline of maximum three lines</a:t>
            </a:r>
          </a:p>
        </p:txBody>
      </p:sp>
      <p:sp>
        <p:nvSpPr>
          <p:cNvPr id="12" name="Platshållare för text 11">
            <a:extLst>
              <a:ext uri="{FF2B5EF4-FFF2-40B4-BE49-F238E27FC236}">
                <a16:creationId xmlns:a16="http://schemas.microsoft.com/office/drawing/2014/main" id="{D84E0A46-5973-4E46-9096-4F1FFEB637F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3851" y="2103438"/>
            <a:ext cx="2735262" cy="2592387"/>
          </a:xfrm>
        </p:spPr>
        <p:txBody>
          <a:bodyPr rIns="216000"/>
          <a:lstStyle>
            <a:lvl1pPr rtl="0">
              <a:defRPr sz="1400"/>
            </a:lvl1pPr>
            <a:lvl2pPr rtl="0">
              <a:defRPr sz="1200"/>
            </a:lvl2pPr>
            <a:lvl3pPr rtl="0">
              <a:defRPr sz="1200"/>
            </a:lvl3pPr>
            <a:lvl4pPr rtl="0">
              <a:defRPr sz="1200"/>
            </a:lvl4pPr>
            <a:lvl5pPr rtl="0">
              <a:defRPr sz="1200"/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Platshållare för text 15">
            <a:extLst>
              <a:ext uri="{FF2B5EF4-FFF2-40B4-BE49-F238E27FC236}">
                <a16:creationId xmlns:a16="http://schemas.microsoft.com/office/drawing/2014/main" id="{CF7D2E26-08D8-5949-87B2-516D214C08A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3850" y="276227"/>
            <a:ext cx="5616575" cy="249374"/>
          </a:xfrm>
        </p:spPr>
        <p:txBody>
          <a:bodyPr lIns="111600" rIns="216000" anchor="t"/>
          <a:lstStyle>
            <a:lvl1pPr marL="3175" indent="-3175" rtl="0">
              <a:buNone/>
              <a:tabLst/>
              <a:defRPr sz="12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add navigation/chapter tracker</a:t>
            </a:r>
          </a:p>
        </p:txBody>
      </p:sp>
      <p:sp>
        <p:nvSpPr>
          <p:cNvPr id="4" name="Platshållare för bild 3">
            <a:extLst>
              <a:ext uri="{FF2B5EF4-FFF2-40B4-BE49-F238E27FC236}">
                <a16:creationId xmlns:a16="http://schemas.microsoft.com/office/drawing/2014/main" id="{0C18E683-E62F-A04E-9D50-572DEA18E06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84887" y="158750"/>
            <a:ext cx="2879725" cy="4681538"/>
          </a:xfrm>
          <a:blipFill>
            <a:blip r:embed="rId5"/>
            <a:tile tx="0" ty="0" sx="100000" sy="100000" flip="none" algn="tl"/>
          </a:blipFill>
        </p:spPr>
        <p:txBody>
          <a:bodyPr/>
          <a:lstStyle>
            <a:lvl1pPr algn="ctr" rtl="0">
              <a:buNone/>
              <a:defRPr sz="8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en-US" noProof="0"/>
              <a:t>Click on the icon to add an image</a:t>
            </a:r>
          </a:p>
          <a:p>
            <a:endParaRPr lang="en-US" noProof="0"/>
          </a:p>
        </p:txBody>
      </p:sp>
      <p:sp>
        <p:nvSpPr>
          <p:cNvPr id="35" name="Date Placeholder 3">
            <a:extLst>
              <a:ext uri="{FF2B5EF4-FFF2-40B4-BE49-F238E27FC236}">
                <a16:creationId xmlns:a16="http://schemas.microsoft.com/office/drawing/2014/main" id="{EBF909F0-CE1B-3D46-83B7-E4DA279DC19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287" y="4901296"/>
            <a:ext cx="2948826" cy="1152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 rtl="0">
              <a:defRPr sz="600" b="0">
                <a:solidFill>
                  <a:srgbClr val="737373"/>
                </a:solidFill>
              </a:defRPr>
            </a:lvl1pPr>
          </a:lstStyle>
          <a:p>
            <a:fld id="{883F3CB1-B539-4DEB-A599-666FF0561DED}" type="datetime1">
              <a:rPr lang="en-US" smtClean="0"/>
              <a:pPr/>
              <a:t>8/29/2025</a:t>
            </a:fld>
            <a:endParaRPr lang="en-US"/>
          </a:p>
        </p:txBody>
      </p:sp>
      <p:sp>
        <p:nvSpPr>
          <p:cNvPr id="36" name="Slide Number Placeholder 5">
            <a:extLst>
              <a:ext uri="{FF2B5EF4-FFF2-40B4-BE49-F238E27FC236}">
                <a16:creationId xmlns:a16="http://schemas.microsoft.com/office/drawing/2014/main" id="{EB2FF840-5D29-6845-91DA-E82490F2863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40418" y="5003474"/>
            <a:ext cx="324294" cy="8245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 rtl="0">
              <a:defRPr sz="600" b="0">
                <a:solidFill>
                  <a:srgbClr val="737373"/>
                </a:solidFill>
              </a:defRPr>
            </a:lvl1pPr>
          </a:lstStyle>
          <a:p>
            <a:fld id="{17CD396C-6A52-4D5A-BAE3-92A1CC3BBDE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Platshållare för text 11">
            <a:extLst>
              <a:ext uri="{FF2B5EF4-FFF2-40B4-BE49-F238E27FC236}">
                <a16:creationId xmlns:a16="http://schemas.microsoft.com/office/drawing/2014/main" id="{0FB76FD9-59CC-F342-90A0-4CBDA20D19E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04369" y="2103438"/>
            <a:ext cx="2736056" cy="2592387"/>
          </a:xfrm>
        </p:spPr>
        <p:txBody>
          <a:bodyPr rIns="216000"/>
          <a:lstStyle>
            <a:lvl1pPr rtl="0">
              <a:defRPr sz="1400"/>
            </a:lvl1pPr>
            <a:lvl2pPr rtl="0">
              <a:defRPr sz="1200"/>
            </a:lvl2pPr>
            <a:lvl3pPr rtl="0">
              <a:defRPr sz="1200"/>
            </a:lvl3pPr>
            <a:lvl4pPr rtl="0">
              <a:defRPr sz="1200"/>
            </a:lvl4pPr>
            <a:lvl5pPr rtl="0">
              <a:defRPr sz="1200"/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Platshållare för sidfot 6">
            <a:extLst>
              <a:ext uri="{FF2B5EF4-FFF2-40B4-BE49-F238E27FC236}">
                <a16:creationId xmlns:a16="http://schemas.microsoft.com/office/drawing/2014/main" id="{82519C75-0594-8F47-9542-99B135CAA31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84887" y="4901296"/>
            <a:ext cx="2879823" cy="1152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 rtl="0">
              <a:defRPr sz="600">
                <a:solidFill>
                  <a:srgbClr val="737373"/>
                </a:solidFill>
              </a:defRPr>
            </a:lvl1pPr>
          </a:lstStyle>
          <a:p>
            <a:r>
              <a:rPr lang="en-US"/>
              <a:t>Go to header/footer to change text 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562648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Text on backgrou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1BAF89F0-4A46-997A-5485-83DF19B62F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97460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7" imgH="277" progId="TCLayout.ActiveDocument.1">
                  <p:embed/>
                </p:oleObj>
              </mc:Choice>
              <mc:Fallback>
                <p:oleObj name="think-cell Folie" r:id="rId3" imgW="277" imgH="277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1BAF89F0-4A46-997A-5485-83DF19B62F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latshållare för bild 3">
            <a:extLst>
              <a:ext uri="{FF2B5EF4-FFF2-40B4-BE49-F238E27FC236}">
                <a16:creationId xmlns:a16="http://schemas.microsoft.com/office/drawing/2014/main" id="{0C18E683-E62F-A04E-9D50-572DEA18E06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79388" y="158750"/>
            <a:ext cx="8785225" cy="4681538"/>
          </a:xfrm>
          <a:blipFill>
            <a:blip r:embed="rId5"/>
            <a:tile tx="0" ty="0" sx="100000" sy="100000" flip="none" algn="tl"/>
          </a:blipFill>
        </p:spPr>
        <p:txBody>
          <a:bodyPr/>
          <a:lstStyle>
            <a:lvl1pPr algn="ctr" rtl="0">
              <a:buNone/>
              <a:defRPr sz="8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en-US" noProof="0"/>
              <a:t>Click on the icon to add an image</a:t>
            </a:r>
          </a:p>
        </p:txBody>
      </p:sp>
      <p:sp>
        <p:nvSpPr>
          <p:cNvPr id="6" name="Rubrik 5">
            <a:extLst>
              <a:ext uri="{FF2B5EF4-FFF2-40B4-BE49-F238E27FC236}">
                <a16:creationId xmlns:a16="http://schemas.microsoft.com/office/drawing/2014/main" id="{4F9BFEED-0E03-904F-9847-3F79E60C95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850" y="525600"/>
            <a:ext cx="4176713" cy="1498314"/>
          </a:xfrm>
        </p:spPr>
        <p:txBody>
          <a:bodyPr vert="horz" rIns="216000"/>
          <a:lstStyle>
            <a:lvl1pPr rtl="0">
              <a:defRPr sz="3000" spc="-70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add a headline of maximum three lines</a:t>
            </a:r>
          </a:p>
        </p:txBody>
      </p:sp>
      <p:sp>
        <p:nvSpPr>
          <p:cNvPr id="12" name="Platshållare för text 11">
            <a:extLst>
              <a:ext uri="{FF2B5EF4-FFF2-40B4-BE49-F238E27FC236}">
                <a16:creationId xmlns:a16="http://schemas.microsoft.com/office/drawing/2014/main" id="{D84E0A46-5973-4E46-9096-4F1FFEB637F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3851" y="2103438"/>
            <a:ext cx="4176712" cy="2592387"/>
          </a:xfrm>
        </p:spPr>
        <p:txBody>
          <a:bodyPr rIns="216000"/>
          <a:lstStyle>
            <a:lvl1pPr rtl="0">
              <a:defRPr sz="1400">
                <a:solidFill>
                  <a:schemeClr val="bg1"/>
                </a:solidFill>
              </a:defRPr>
            </a:lvl1pPr>
            <a:lvl2pPr rtl="0">
              <a:defRPr sz="1200">
                <a:solidFill>
                  <a:schemeClr val="bg1"/>
                </a:solidFill>
              </a:defRPr>
            </a:lvl2pPr>
            <a:lvl3pPr rtl="0">
              <a:defRPr sz="1200">
                <a:solidFill>
                  <a:schemeClr val="bg1"/>
                </a:solidFill>
              </a:defRPr>
            </a:lvl3pPr>
            <a:lvl4pPr rtl="0">
              <a:defRPr sz="1200">
                <a:solidFill>
                  <a:schemeClr val="bg1"/>
                </a:solidFill>
              </a:defRPr>
            </a:lvl4pPr>
            <a:lvl5pPr rtl="0"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Platshållare för text 15">
            <a:extLst>
              <a:ext uri="{FF2B5EF4-FFF2-40B4-BE49-F238E27FC236}">
                <a16:creationId xmlns:a16="http://schemas.microsoft.com/office/drawing/2014/main" id="{CF7D2E26-08D8-5949-87B2-516D214C08A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3850" y="276226"/>
            <a:ext cx="4176713" cy="276999"/>
          </a:xfrm>
        </p:spPr>
        <p:txBody>
          <a:bodyPr lIns="111600" rIns="216000" anchor="t"/>
          <a:lstStyle>
            <a:lvl1pPr marL="3175" indent="-3175" rtl="0">
              <a:buNone/>
              <a:tabLst/>
              <a:defRPr sz="1200" b="1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add navigation/chapter tracker</a:t>
            </a:r>
          </a:p>
        </p:txBody>
      </p:sp>
      <p:sp>
        <p:nvSpPr>
          <p:cNvPr id="38" name="Date Placeholder 3">
            <a:extLst>
              <a:ext uri="{FF2B5EF4-FFF2-40B4-BE49-F238E27FC236}">
                <a16:creationId xmlns:a16="http://schemas.microsoft.com/office/drawing/2014/main" id="{B7D04508-015B-A24C-A068-9517A03041E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287" y="4901296"/>
            <a:ext cx="2948826" cy="1152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 rtl="0">
              <a:defRPr sz="600" b="0">
                <a:solidFill>
                  <a:srgbClr val="737373"/>
                </a:solidFill>
              </a:defRPr>
            </a:lvl1pPr>
          </a:lstStyle>
          <a:p>
            <a:fld id="{31601EC9-1B65-4B43-B6B8-7165E938E812}" type="datetime1">
              <a:rPr lang="en-US" smtClean="0"/>
              <a:pPr/>
              <a:t>8/29/2025</a:t>
            </a:fld>
            <a:endParaRPr lang="en-US"/>
          </a:p>
        </p:txBody>
      </p:sp>
      <p:sp>
        <p:nvSpPr>
          <p:cNvPr id="39" name="Slide Number Placeholder 5">
            <a:extLst>
              <a:ext uri="{FF2B5EF4-FFF2-40B4-BE49-F238E27FC236}">
                <a16:creationId xmlns:a16="http://schemas.microsoft.com/office/drawing/2014/main" id="{24E3E452-24F0-1B44-9014-429AC576B5B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40418" y="5003474"/>
            <a:ext cx="324294" cy="8245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 rtl="0">
              <a:defRPr sz="600" b="0">
                <a:solidFill>
                  <a:srgbClr val="737373"/>
                </a:solidFill>
              </a:defRPr>
            </a:lvl1pPr>
          </a:lstStyle>
          <a:p>
            <a:fld id="{17CD396C-6A52-4D5A-BAE3-92A1CC3BBDE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Platshållare för sidfot 6">
            <a:extLst>
              <a:ext uri="{FF2B5EF4-FFF2-40B4-BE49-F238E27FC236}">
                <a16:creationId xmlns:a16="http://schemas.microsoft.com/office/drawing/2014/main" id="{5CA8B606-3188-9643-98F0-31B8738AF06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84887" y="4901296"/>
            <a:ext cx="2879823" cy="1152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 rtl="0">
              <a:defRPr sz="600">
                <a:solidFill>
                  <a:srgbClr val="737373"/>
                </a:solidFill>
              </a:defRPr>
            </a:lvl1pPr>
          </a:lstStyle>
          <a:p>
            <a:r>
              <a:rPr lang="en-US"/>
              <a:t>Go to header/footer to change text 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57261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Text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A41CC8A8-237A-EEDB-1E23-9B8D23D83A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1629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7" imgH="277" progId="TCLayout.ActiveDocument.1">
                  <p:embed/>
                </p:oleObj>
              </mc:Choice>
              <mc:Fallback>
                <p:oleObj name="think-cell Folie" r:id="rId3" imgW="277" imgH="277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A41CC8A8-237A-EEDB-1E23-9B8D23D83A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ubrik 5">
            <a:extLst>
              <a:ext uri="{FF2B5EF4-FFF2-40B4-BE49-F238E27FC236}">
                <a16:creationId xmlns:a16="http://schemas.microsoft.com/office/drawing/2014/main" id="{4F9BFEED-0E03-904F-9847-3F79E60C95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848" y="525600"/>
            <a:ext cx="7056440" cy="1498314"/>
          </a:xfrm>
        </p:spPr>
        <p:txBody>
          <a:bodyPr vert="horz" rIns="144000"/>
          <a:lstStyle>
            <a:lvl1pPr rtl="0">
              <a:defRPr sz="3000" spc="-70" baseline="0"/>
            </a:lvl1pPr>
          </a:lstStyle>
          <a:p>
            <a:r>
              <a:rPr lang="en-US" noProof="0"/>
              <a:t>Click to add a headline of maximum three lines</a:t>
            </a:r>
          </a:p>
        </p:txBody>
      </p:sp>
      <p:sp>
        <p:nvSpPr>
          <p:cNvPr id="12" name="Platshållare för text 11">
            <a:extLst>
              <a:ext uri="{FF2B5EF4-FFF2-40B4-BE49-F238E27FC236}">
                <a16:creationId xmlns:a16="http://schemas.microsoft.com/office/drawing/2014/main" id="{D84E0A46-5973-4E46-9096-4F1FFEB637F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3851" y="2103438"/>
            <a:ext cx="4176712" cy="2592387"/>
          </a:xfrm>
        </p:spPr>
        <p:txBody>
          <a:bodyPr rIns="180000"/>
          <a:lstStyle>
            <a:lvl1pPr rtl="0">
              <a:defRPr sz="1400"/>
            </a:lvl1pPr>
            <a:lvl2pPr rtl="0">
              <a:defRPr sz="1200"/>
            </a:lvl2pPr>
            <a:lvl3pPr rtl="0">
              <a:defRPr sz="1200"/>
            </a:lvl3pPr>
            <a:lvl4pPr rtl="0">
              <a:defRPr sz="1200"/>
            </a:lvl4pPr>
            <a:lvl5pPr rtl="0">
              <a:defRPr sz="1200"/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Platshållare för text 15">
            <a:extLst>
              <a:ext uri="{FF2B5EF4-FFF2-40B4-BE49-F238E27FC236}">
                <a16:creationId xmlns:a16="http://schemas.microsoft.com/office/drawing/2014/main" id="{CF7D2E26-08D8-5949-87B2-516D214C08A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3850" y="276227"/>
            <a:ext cx="7056438" cy="249374"/>
          </a:xfrm>
        </p:spPr>
        <p:txBody>
          <a:bodyPr lIns="111600" rIns="144000" anchor="t"/>
          <a:lstStyle>
            <a:lvl1pPr marL="3175" indent="-3175" rtl="0">
              <a:buNone/>
              <a:tabLst/>
              <a:defRPr sz="12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add navigation/chapter tracker</a:t>
            </a:r>
          </a:p>
        </p:txBody>
      </p:sp>
      <p:sp>
        <p:nvSpPr>
          <p:cNvPr id="35" name="Date Placeholder 3">
            <a:extLst>
              <a:ext uri="{FF2B5EF4-FFF2-40B4-BE49-F238E27FC236}">
                <a16:creationId xmlns:a16="http://schemas.microsoft.com/office/drawing/2014/main" id="{EBF909F0-CE1B-3D46-83B7-E4DA279DC19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287" y="4901296"/>
            <a:ext cx="2948826" cy="1152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 rtl="0">
              <a:defRPr sz="600" b="0">
                <a:solidFill>
                  <a:srgbClr val="737373"/>
                </a:solidFill>
              </a:defRPr>
            </a:lvl1pPr>
          </a:lstStyle>
          <a:p>
            <a:fld id="{C737A859-AD56-43FC-904D-C3A45B10D586}" type="datetime1">
              <a:rPr lang="en-US" smtClean="0"/>
              <a:pPr/>
              <a:t>8/29/2025</a:t>
            </a:fld>
            <a:endParaRPr lang="en-US"/>
          </a:p>
        </p:txBody>
      </p:sp>
      <p:sp>
        <p:nvSpPr>
          <p:cNvPr id="36" name="Slide Number Placeholder 5">
            <a:extLst>
              <a:ext uri="{FF2B5EF4-FFF2-40B4-BE49-F238E27FC236}">
                <a16:creationId xmlns:a16="http://schemas.microsoft.com/office/drawing/2014/main" id="{EB2FF840-5D29-6845-91DA-E82490F2863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40418" y="5003474"/>
            <a:ext cx="324294" cy="8245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 rtl="0">
              <a:defRPr sz="600" b="0">
                <a:solidFill>
                  <a:srgbClr val="737373"/>
                </a:solidFill>
              </a:defRPr>
            </a:lvl1pPr>
          </a:lstStyle>
          <a:p>
            <a:fld id="{17CD396C-6A52-4D5A-BAE3-92A1CC3BBDE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1" name="Platshållare för text 11">
            <a:extLst>
              <a:ext uri="{FF2B5EF4-FFF2-40B4-BE49-F238E27FC236}">
                <a16:creationId xmlns:a16="http://schemas.microsoft.com/office/drawing/2014/main" id="{C849FC5B-B320-ED44-9AC1-132066E1AA4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43438" y="2103438"/>
            <a:ext cx="4176712" cy="2592387"/>
          </a:xfrm>
        </p:spPr>
        <p:txBody>
          <a:bodyPr rIns="180000"/>
          <a:lstStyle>
            <a:lvl1pPr rtl="0">
              <a:defRPr sz="1400"/>
            </a:lvl1pPr>
            <a:lvl2pPr rtl="0">
              <a:defRPr sz="1200"/>
            </a:lvl2pPr>
            <a:lvl3pPr rtl="0">
              <a:defRPr sz="1200"/>
            </a:lvl3pPr>
            <a:lvl4pPr rtl="0">
              <a:defRPr sz="1200"/>
            </a:lvl4pPr>
            <a:lvl5pPr rtl="0">
              <a:defRPr sz="1200"/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Platshållare för sidfot 6">
            <a:extLst>
              <a:ext uri="{FF2B5EF4-FFF2-40B4-BE49-F238E27FC236}">
                <a16:creationId xmlns:a16="http://schemas.microsoft.com/office/drawing/2014/main" id="{9081F78F-04AB-B54E-AA0D-682C305BD0C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84887" y="4901296"/>
            <a:ext cx="2879823" cy="1152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 rtl="0">
              <a:defRPr sz="600">
                <a:solidFill>
                  <a:srgbClr val="737373"/>
                </a:solidFill>
              </a:defRPr>
            </a:lvl1pPr>
          </a:lstStyle>
          <a:p>
            <a:r>
              <a:rPr lang="en-US"/>
              <a:t>Go to header/footer to change text 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760900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Three Bullet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D74E521-5F81-70CA-2764-2ABB29E5470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10755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7" imgH="277" progId="TCLayout.ActiveDocument.1">
                  <p:embed/>
                </p:oleObj>
              </mc:Choice>
              <mc:Fallback>
                <p:oleObj name="think-cell Folie" r:id="rId3" imgW="277" imgH="277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D74E521-5F81-70CA-2764-2ABB29E547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Platshållare för text 15">
            <a:extLst>
              <a:ext uri="{FF2B5EF4-FFF2-40B4-BE49-F238E27FC236}">
                <a16:creationId xmlns:a16="http://schemas.microsoft.com/office/drawing/2014/main" id="{CF7D2E26-08D8-5949-87B2-516D214C08A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3850" y="276226"/>
            <a:ext cx="4176713" cy="276999"/>
          </a:xfrm>
        </p:spPr>
        <p:txBody>
          <a:bodyPr lIns="111600" rIns="216000" anchor="t"/>
          <a:lstStyle>
            <a:lvl1pPr marL="3175" indent="-3175" rtl="0">
              <a:buNone/>
              <a:tabLst/>
              <a:defRPr sz="12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add navigation/chapter tracker</a:t>
            </a:r>
          </a:p>
        </p:txBody>
      </p:sp>
      <p:sp>
        <p:nvSpPr>
          <p:cNvPr id="35" name="Date Placeholder 3">
            <a:extLst>
              <a:ext uri="{FF2B5EF4-FFF2-40B4-BE49-F238E27FC236}">
                <a16:creationId xmlns:a16="http://schemas.microsoft.com/office/drawing/2014/main" id="{EBF909F0-CE1B-3D46-83B7-E4DA279DC19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287" y="4901296"/>
            <a:ext cx="2948826" cy="1152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 rtl="0">
              <a:defRPr sz="600" b="0">
                <a:solidFill>
                  <a:srgbClr val="737373"/>
                </a:solidFill>
              </a:defRPr>
            </a:lvl1pPr>
          </a:lstStyle>
          <a:p>
            <a:fld id="{9042C23B-FC65-49F0-B48E-F12F8780C253}" type="datetime1">
              <a:rPr lang="en-US" smtClean="0"/>
              <a:pPr/>
              <a:t>8/29/2025</a:t>
            </a:fld>
            <a:endParaRPr lang="en-US"/>
          </a:p>
        </p:txBody>
      </p:sp>
      <p:sp>
        <p:nvSpPr>
          <p:cNvPr id="36" name="Slide Number Placeholder 5">
            <a:extLst>
              <a:ext uri="{FF2B5EF4-FFF2-40B4-BE49-F238E27FC236}">
                <a16:creationId xmlns:a16="http://schemas.microsoft.com/office/drawing/2014/main" id="{EB2FF840-5D29-6845-91DA-E82490F2863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40418" y="5003474"/>
            <a:ext cx="324294" cy="8245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 rtl="0">
              <a:defRPr sz="600" b="0">
                <a:solidFill>
                  <a:srgbClr val="737373"/>
                </a:solidFill>
              </a:defRPr>
            </a:lvl1pPr>
          </a:lstStyle>
          <a:p>
            <a:fld id="{17CD396C-6A52-4D5A-BAE3-92A1CC3BBDE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3BF31E87-F6F5-0C4F-B6DB-72F0D53D636B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669509" y="1473519"/>
            <a:ext cx="2052000" cy="2052000"/>
          </a:xfrm>
          <a:prstGeom prst="ellipse">
            <a:avLst/>
          </a:prstGeom>
          <a:solidFill>
            <a:schemeClr val="accent5"/>
          </a:solidFill>
        </p:spPr>
        <p:txBody>
          <a:bodyPr lIns="0" tIns="36000" rIns="0" bIns="36000" anchor="ctr"/>
          <a:lstStyle>
            <a:lvl1pPr marL="0" indent="-17463" algn="ctr" rtl="0">
              <a:lnSpc>
                <a:spcPct val="95000"/>
              </a:lnSpc>
              <a:spcBef>
                <a:spcPts val="0"/>
              </a:spcBef>
              <a:buNone/>
              <a:tabLst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add text in a maximum of four lines</a:t>
            </a:r>
          </a:p>
        </p:txBody>
      </p:sp>
      <p:sp>
        <p:nvSpPr>
          <p:cNvPr id="18" name="Platshållare för text 2">
            <a:extLst>
              <a:ext uri="{FF2B5EF4-FFF2-40B4-BE49-F238E27FC236}">
                <a16:creationId xmlns:a16="http://schemas.microsoft.com/office/drawing/2014/main" id="{8782FCDA-CE43-ED4B-B564-F2CC331FC617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3546000" y="1473519"/>
            <a:ext cx="2052000" cy="2052000"/>
          </a:xfrm>
          <a:prstGeom prst="ellipse">
            <a:avLst/>
          </a:prstGeom>
          <a:solidFill>
            <a:schemeClr val="accent5"/>
          </a:solidFill>
        </p:spPr>
        <p:txBody>
          <a:bodyPr lIns="0" tIns="36000" rIns="0" bIns="36000" anchor="ctr"/>
          <a:lstStyle>
            <a:lvl1pPr marL="0" indent="-17463" algn="ctr" rtl="0">
              <a:lnSpc>
                <a:spcPct val="95000"/>
              </a:lnSpc>
              <a:spcBef>
                <a:spcPts val="0"/>
              </a:spcBef>
              <a:buNone/>
              <a:tabLst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add text in a maximum of four lines</a:t>
            </a:r>
          </a:p>
        </p:txBody>
      </p:sp>
      <p:sp>
        <p:nvSpPr>
          <p:cNvPr id="19" name="Platshållare för text 2">
            <a:extLst>
              <a:ext uri="{FF2B5EF4-FFF2-40B4-BE49-F238E27FC236}">
                <a16:creationId xmlns:a16="http://schemas.microsoft.com/office/drawing/2014/main" id="{86327479-9D75-FF49-A369-D1A00CC1DA81}"/>
              </a:ext>
            </a:extLst>
          </p:cNvPr>
          <p:cNvSpPr>
            <a:spLocks noGrp="1" noChangeAspect="1"/>
          </p:cNvSpPr>
          <p:nvPr>
            <p:ph type="body" sz="quarter" idx="19" hasCustomPrompt="1"/>
          </p:nvPr>
        </p:nvSpPr>
        <p:spPr>
          <a:xfrm>
            <a:off x="6432099" y="1473519"/>
            <a:ext cx="2052000" cy="2052000"/>
          </a:xfrm>
          <a:prstGeom prst="ellipse">
            <a:avLst/>
          </a:prstGeom>
          <a:solidFill>
            <a:schemeClr val="accent5"/>
          </a:solidFill>
        </p:spPr>
        <p:txBody>
          <a:bodyPr lIns="0" tIns="36000" rIns="0" bIns="36000" anchor="ctr"/>
          <a:lstStyle>
            <a:lvl1pPr marL="0" indent="-17463" algn="ctr" rtl="0">
              <a:lnSpc>
                <a:spcPct val="95000"/>
              </a:lnSpc>
              <a:spcBef>
                <a:spcPts val="0"/>
              </a:spcBef>
              <a:buNone/>
              <a:tabLst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add text in a maximum of four lines</a:t>
            </a:r>
          </a:p>
        </p:txBody>
      </p:sp>
      <p:sp>
        <p:nvSpPr>
          <p:cNvPr id="10" name="Rubrik 5">
            <a:extLst>
              <a:ext uri="{FF2B5EF4-FFF2-40B4-BE49-F238E27FC236}">
                <a16:creationId xmlns:a16="http://schemas.microsoft.com/office/drawing/2014/main" id="{53087196-C9C5-BE48-9D76-3372ECAC15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848" y="525600"/>
            <a:ext cx="7056440" cy="630236"/>
          </a:xfrm>
        </p:spPr>
        <p:txBody>
          <a:bodyPr vert="horz" rIns="216000"/>
          <a:lstStyle>
            <a:lvl1pPr rtl="0">
              <a:defRPr sz="3000" spc="-70" baseline="0"/>
            </a:lvl1pPr>
          </a:lstStyle>
          <a:p>
            <a:r>
              <a:rPr lang="en-US" noProof="0"/>
              <a:t>Click to add short headline or delete</a:t>
            </a:r>
          </a:p>
        </p:txBody>
      </p:sp>
      <p:sp>
        <p:nvSpPr>
          <p:cNvPr id="13" name="Platshållare för sidfot 6">
            <a:extLst>
              <a:ext uri="{FF2B5EF4-FFF2-40B4-BE49-F238E27FC236}">
                <a16:creationId xmlns:a16="http://schemas.microsoft.com/office/drawing/2014/main" id="{8DF4D24D-538B-A54E-BE5A-7EAB96CDD0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84887" y="4901296"/>
            <a:ext cx="2879823" cy="1152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 rtl="0">
              <a:defRPr sz="600">
                <a:solidFill>
                  <a:srgbClr val="737373"/>
                </a:solidFill>
              </a:defRPr>
            </a:lvl1pPr>
          </a:lstStyle>
          <a:p>
            <a:r>
              <a:rPr lang="en-US"/>
              <a:t>Go to header/footer to change text 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613967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Three Bullets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7C2495A-E5F9-F3E9-740F-CCD438B9B6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03009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7" imgH="277" progId="TCLayout.ActiveDocument.1">
                  <p:embed/>
                </p:oleObj>
              </mc:Choice>
              <mc:Fallback>
                <p:oleObj name="think-cell Folie" r:id="rId3" imgW="277" imgH="277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47C2495A-E5F9-F3E9-740F-CCD438B9B6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latshållare för bild 2">
            <a:extLst>
              <a:ext uri="{FF2B5EF4-FFF2-40B4-BE49-F238E27FC236}">
                <a16:creationId xmlns:a16="http://schemas.microsoft.com/office/drawing/2014/main" id="{1C249437-ECE8-8C43-BEB1-A558F34C86D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79388" y="158750"/>
            <a:ext cx="8785322" cy="4681538"/>
          </a:xfrm>
          <a:blipFill>
            <a:blip r:embed="rId5"/>
            <a:tile tx="0" ty="0" sx="100000" sy="100000" flip="none" algn="tl"/>
          </a:blipFill>
        </p:spPr>
        <p:txBody>
          <a:bodyPr/>
          <a:lstStyle>
            <a:lvl1pPr algn="ctr" rtl="0">
              <a:buNone/>
              <a:defRPr sz="8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en-US" noProof="0"/>
              <a:t>Click on the icon to add an image</a:t>
            </a:r>
          </a:p>
        </p:txBody>
      </p:sp>
      <p:sp>
        <p:nvSpPr>
          <p:cNvPr id="16" name="Platshållare för text 15">
            <a:extLst>
              <a:ext uri="{FF2B5EF4-FFF2-40B4-BE49-F238E27FC236}">
                <a16:creationId xmlns:a16="http://schemas.microsoft.com/office/drawing/2014/main" id="{CF7D2E26-08D8-5949-87B2-516D214C08A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3850" y="276226"/>
            <a:ext cx="4176713" cy="276999"/>
          </a:xfrm>
        </p:spPr>
        <p:txBody>
          <a:bodyPr lIns="111600" rIns="216000" anchor="t"/>
          <a:lstStyle>
            <a:lvl1pPr marL="3175" indent="-3175" rtl="0">
              <a:buNone/>
              <a:tabLst/>
              <a:defRPr sz="1200" b="1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add navigation/chapter tracker</a:t>
            </a:r>
          </a:p>
        </p:txBody>
      </p:sp>
      <p:sp>
        <p:nvSpPr>
          <p:cNvPr id="35" name="Date Placeholder 3">
            <a:extLst>
              <a:ext uri="{FF2B5EF4-FFF2-40B4-BE49-F238E27FC236}">
                <a16:creationId xmlns:a16="http://schemas.microsoft.com/office/drawing/2014/main" id="{EBF909F0-CE1B-3D46-83B7-E4DA279DC19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287" y="4901296"/>
            <a:ext cx="2948826" cy="1152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 rtl="0">
              <a:defRPr sz="600" b="0">
                <a:solidFill>
                  <a:srgbClr val="737373"/>
                </a:solidFill>
              </a:defRPr>
            </a:lvl1pPr>
          </a:lstStyle>
          <a:p>
            <a:fld id="{3CE69851-C9CD-45FA-B62C-F2B25C080F13}" type="datetime1">
              <a:rPr lang="en-US" smtClean="0"/>
              <a:pPr/>
              <a:t>8/29/2025</a:t>
            </a:fld>
            <a:endParaRPr lang="en-US"/>
          </a:p>
        </p:txBody>
      </p:sp>
      <p:sp>
        <p:nvSpPr>
          <p:cNvPr id="36" name="Slide Number Placeholder 5">
            <a:extLst>
              <a:ext uri="{FF2B5EF4-FFF2-40B4-BE49-F238E27FC236}">
                <a16:creationId xmlns:a16="http://schemas.microsoft.com/office/drawing/2014/main" id="{EB2FF840-5D29-6845-91DA-E82490F2863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40418" y="5003474"/>
            <a:ext cx="324294" cy="8245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 rtl="0">
              <a:defRPr sz="600" b="0">
                <a:solidFill>
                  <a:srgbClr val="737373"/>
                </a:solidFill>
              </a:defRPr>
            </a:lvl1pPr>
          </a:lstStyle>
          <a:p>
            <a:fld id="{17CD396C-6A52-4D5A-BAE3-92A1CC3BBDE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Platshållare för text 2">
            <a:extLst>
              <a:ext uri="{FF2B5EF4-FFF2-40B4-BE49-F238E27FC236}">
                <a16:creationId xmlns:a16="http://schemas.microsoft.com/office/drawing/2014/main" id="{A0D0A950-AAC5-7A4C-BBFF-C2F1D36A2CFF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669509" y="1473519"/>
            <a:ext cx="2052000" cy="2052000"/>
          </a:xfrm>
          <a:prstGeom prst="ellipse">
            <a:avLst/>
          </a:prstGeom>
          <a:solidFill>
            <a:srgbClr val="EDF9F3"/>
          </a:solidFill>
        </p:spPr>
        <p:txBody>
          <a:bodyPr lIns="0" tIns="36000" rIns="0" bIns="36000" anchor="ctr"/>
          <a:lstStyle>
            <a:lvl1pPr marL="0" indent="-17463" algn="ctr" rtl="0">
              <a:lnSpc>
                <a:spcPct val="95000"/>
              </a:lnSpc>
              <a:spcBef>
                <a:spcPts val="0"/>
              </a:spcBef>
              <a:buNone/>
              <a:tabLst/>
              <a:defRPr sz="14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add text in a maximum of four lines</a:t>
            </a:r>
          </a:p>
        </p:txBody>
      </p:sp>
      <p:sp>
        <p:nvSpPr>
          <p:cNvPr id="11" name="Platshållare för text 2">
            <a:extLst>
              <a:ext uri="{FF2B5EF4-FFF2-40B4-BE49-F238E27FC236}">
                <a16:creationId xmlns:a16="http://schemas.microsoft.com/office/drawing/2014/main" id="{E23DDBC6-EA11-0449-AB3C-6281C5EDAC05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3546000" y="1473519"/>
            <a:ext cx="2052000" cy="2052000"/>
          </a:xfrm>
          <a:prstGeom prst="ellipse">
            <a:avLst/>
          </a:prstGeom>
          <a:solidFill>
            <a:srgbClr val="EDF9F3"/>
          </a:solidFill>
        </p:spPr>
        <p:txBody>
          <a:bodyPr lIns="0" tIns="36000" rIns="0" bIns="36000" anchor="ctr"/>
          <a:lstStyle>
            <a:lvl1pPr marL="0" indent="-17463" algn="ctr" rtl="0">
              <a:lnSpc>
                <a:spcPct val="95000"/>
              </a:lnSpc>
              <a:spcBef>
                <a:spcPts val="0"/>
              </a:spcBef>
              <a:buNone/>
              <a:tabLst/>
              <a:defRPr sz="14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add text in a maximum of four lines</a:t>
            </a:r>
          </a:p>
        </p:txBody>
      </p:sp>
      <p:sp>
        <p:nvSpPr>
          <p:cNvPr id="12" name="Platshållare för text 2">
            <a:extLst>
              <a:ext uri="{FF2B5EF4-FFF2-40B4-BE49-F238E27FC236}">
                <a16:creationId xmlns:a16="http://schemas.microsoft.com/office/drawing/2014/main" id="{4BE092D2-014A-3A42-9A92-2EBCB0703736}"/>
              </a:ext>
            </a:extLst>
          </p:cNvPr>
          <p:cNvSpPr>
            <a:spLocks noGrp="1" noChangeAspect="1"/>
          </p:cNvSpPr>
          <p:nvPr>
            <p:ph type="body" sz="quarter" idx="19" hasCustomPrompt="1"/>
          </p:nvPr>
        </p:nvSpPr>
        <p:spPr>
          <a:xfrm>
            <a:off x="6432099" y="1473519"/>
            <a:ext cx="2052000" cy="2052000"/>
          </a:xfrm>
          <a:prstGeom prst="ellipse">
            <a:avLst/>
          </a:prstGeom>
          <a:solidFill>
            <a:srgbClr val="EDF9F3"/>
          </a:solidFill>
        </p:spPr>
        <p:txBody>
          <a:bodyPr lIns="0" tIns="36000" rIns="0" bIns="36000" anchor="ctr"/>
          <a:lstStyle>
            <a:lvl1pPr marL="0" indent="-17463" algn="ctr" rtl="0">
              <a:lnSpc>
                <a:spcPct val="95000"/>
              </a:lnSpc>
              <a:spcBef>
                <a:spcPts val="0"/>
              </a:spcBef>
              <a:buNone/>
              <a:tabLst/>
              <a:defRPr sz="14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add text in a maximum of four lines</a:t>
            </a:r>
          </a:p>
        </p:txBody>
      </p:sp>
      <p:sp>
        <p:nvSpPr>
          <p:cNvPr id="13" name="Rubrik 5">
            <a:extLst>
              <a:ext uri="{FF2B5EF4-FFF2-40B4-BE49-F238E27FC236}">
                <a16:creationId xmlns:a16="http://schemas.microsoft.com/office/drawing/2014/main" id="{E49F3BE6-D2B1-164B-B9F4-18257A7F1B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848" y="525600"/>
            <a:ext cx="7056440" cy="630236"/>
          </a:xfrm>
        </p:spPr>
        <p:txBody>
          <a:bodyPr vert="horz" rIns="216000"/>
          <a:lstStyle>
            <a:lvl1pPr rtl="0">
              <a:defRPr sz="3000" spc="-70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add short headline or delete</a:t>
            </a:r>
          </a:p>
        </p:txBody>
      </p:sp>
      <p:sp>
        <p:nvSpPr>
          <p:cNvPr id="15" name="Platshållare för sidfot 6">
            <a:extLst>
              <a:ext uri="{FF2B5EF4-FFF2-40B4-BE49-F238E27FC236}">
                <a16:creationId xmlns:a16="http://schemas.microsoft.com/office/drawing/2014/main" id="{4C90DA47-3EEB-B445-BFD0-FB49D53363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84887" y="4901296"/>
            <a:ext cx="2879823" cy="1152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 rtl="0">
              <a:defRPr sz="600">
                <a:solidFill>
                  <a:srgbClr val="737373"/>
                </a:solidFill>
              </a:defRPr>
            </a:lvl1pPr>
          </a:lstStyle>
          <a:p>
            <a:r>
              <a:rPr lang="en-US"/>
              <a:t>Go to header/footer to change text 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02980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Three Icon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A303E189-B88B-529F-5A4D-E56CBE17C3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856019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7" imgH="277" progId="TCLayout.ActiveDocument.1">
                  <p:embed/>
                </p:oleObj>
              </mc:Choice>
              <mc:Fallback>
                <p:oleObj name="think-cell Folie" r:id="rId3" imgW="277" imgH="277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A303E189-B88B-529F-5A4D-E56CBE17C3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Platshållare för text 15">
            <a:extLst>
              <a:ext uri="{FF2B5EF4-FFF2-40B4-BE49-F238E27FC236}">
                <a16:creationId xmlns:a16="http://schemas.microsoft.com/office/drawing/2014/main" id="{CF7D2E26-08D8-5949-87B2-516D214C08A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3850" y="276226"/>
            <a:ext cx="4176713" cy="276999"/>
          </a:xfrm>
        </p:spPr>
        <p:txBody>
          <a:bodyPr lIns="111600" rIns="144000" anchor="t"/>
          <a:lstStyle>
            <a:lvl1pPr marL="3175" indent="-3175" rtl="0">
              <a:buNone/>
              <a:tabLst/>
              <a:defRPr sz="12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add navigation/chapter tracker</a:t>
            </a:r>
          </a:p>
        </p:txBody>
      </p:sp>
      <p:sp>
        <p:nvSpPr>
          <p:cNvPr id="35" name="Date Placeholder 3">
            <a:extLst>
              <a:ext uri="{FF2B5EF4-FFF2-40B4-BE49-F238E27FC236}">
                <a16:creationId xmlns:a16="http://schemas.microsoft.com/office/drawing/2014/main" id="{EBF909F0-CE1B-3D46-83B7-E4DA279DC19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287" y="4901296"/>
            <a:ext cx="2948826" cy="1152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 rtl="0">
              <a:defRPr sz="600" b="0">
                <a:solidFill>
                  <a:srgbClr val="737373"/>
                </a:solidFill>
              </a:defRPr>
            </a:lvl1pPr>
          </a:lstStyle>
          <a:p>
            <a:fld id="{19DB3FDC-F754-41F1-B66D-912FA87ED1BC}" type="datetime1">
              <a:rPr lang="en-US" smtClean="0"/>
              <a:pPr/>
              <a:t>8/29/2025</a:t>
            </a:fld>
            <a:endParaRPr lang="en-US"/>
          </a:p>
        </p:txBody>
      </p:sp>
      <p:sp>
        <p:nvSpPr>
          <p:cNvPr id="36" name="Slide Number Placeholder 5">
            <a:extLst>
              <a:ext uri="{FF2B5EF4-FFF2-40B4-BE49-F238E27FC236}">
                <a16:creationId xmlns:a16="http://schemas.microsoft.com/office/drawing/2014/main" id="{EB2FF840-5D29-6845-91DA-E82490F2863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40418" y="5003474"/>
            <a:ext cx="324294" cy="8245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 rtl="0">
              <a:defRPr sz="600" b="0">
                <a:solidFill>
                  <a:srgbClr val="737373"/>
                </a:solidFill>
              </a:defRPr>
            </a:lvl1pPr>
          </a:lstStyle>
          <a:p>
            <a:fld id="{17CD396C-6A52-4D5A-BAE3-92A1CC3BBDE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7" name="Platshållare för text 11">
            <a:extLst>
              <a:ext uri="{FF2B5EF4-FFF2-40B4-BE49-F238E27FC236}">
                <a16:creationId xmlns:a16="http://schemas.microsoft.com/office/drawing/2014/main" id="{66FB5539-4991-4D46-884F-A63F571088C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3850" y="3390838"/>
            <a:ext cx="2735263" cy="355993"/>
          </a:xfrm>
        </p:spPr>
        <p:txBody>
          <a:bodyPr lIns="144000" rIns="144000" anchor="b"/>
          <a:lstStyle>
            <a:lvl1pPr marL="0" indent="0" algn="ctr" rtl="0">
              <a:lnSpc>
                <a:spcPct val="95000"/>
              </a:lnSpc>
              <a:spcBef>
                <a:spcPts val="0"/>
              </a:spcBef>
              <a:buNone/>
              <a:tabLst/>
              <a:defRPr sz="1800" b="1"/>
            </a:lvl1pPr>
            <a:lvl2pPr marL="0" indent="0">
              <a:buNone/>
              <a:tabLst/>
              <a:defRPr sz="1200"/>
            </a:lvl2pPr>
            <a:lvl3pPr marL="0" indent="0">
              <a:buNone/>
              <a:tabLst/>
              <a:defRPr sz="1200"/>
            </a:lvl3pPr>
            <a:lvl4pPr marL="0" indent="0">
              <a:buNone/>
              <a:tabLst/>
              <a:defRPr sz="1200"/>
            </a:lvl4pPr>
            <a:lvl5pPr marL="0" indent="0">
              <a:buNone/>
              <a:tabLst/>
              <a:defRPr sz="1200"/>
            </a:lvl5pPr>
          </a:lstStyle>
          <a:p>
            <a:pPr lvl="0"/>
            <a:r>
              <a:rPr lang="en-US" noProof="0"/>
              <a:t>Click to add headline</a:t>
            </a:r>
          </a:p>
        </p:txBody>
      </p:sp>
      <p:sp>
        <p:nvSpPr>
          <p:cNvPr id="28" name="Platshållare för text 11">
            <a:extLst>
              <a:ext uri="{FF2B5EF4-FFF2-40B4-BE49-F238E27FC236}">
                <a16:creationId xmlns:a16="http://schemas.microsoft.com/office/drawing/2014/main" id="{0BDC7661-3072-564C-891C-82718D2BF1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3850" y="3777335"/>
            <a:ext cx="2736000" cy="918490"/>
          </a:xfrm>
        </p:spPr>
        <p:txBody>
          <a:bodyPr lIns="180000" rIns="180000"/>
          <a:lstStyle>
            <a:lvl1pPr marL="15875" indent="-15875" algn="ctr" rtl="0">
              <a:buNone/>
              <a:tabLst/>
              <a:defRPr sz="1400"/>
            </a:lvl1pPr>
            <a:lvl2pPr marL="15875" indent="-15875" algn="ctr">
              <a:buNone/>
              <a:tabLst/>
              <a:defRPr sz="1200"/>
            </a:lvl2pPr>
            <a:lvl3pPr marL="15875" indent="-15875" algn="ctr">
              <a:buNone/>
              <a:tabLst/>
              <a:defRPr sz="1200"/>
            </a:lvl3pPr>
            <a:lvl4pPr marL="15875" indent="-15875" algn="ctr">
              <a:buNone/>
              <a:tabLst/>
              <a:defRPr sz="1200"/>
            </a:lvl4pPr>
            <a:lvl5pPr marL="15875" indent="-15875" algn="ctr">
              <a:buNone/>
              <a:tabLst/>
              <a:defRPr sz="12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29" name="Platshållare för text 11">
            <a:extLst>
              <a:ext uri="{FF2B5EF4-FFF2-40B4-BE49-F238E27FC236}">
                <a16:creationId xmlns:a16="http://schemas.microsoft.com/office/drawing/2014/main" id="{C48D686F-94A2-DD46-82F1-E264BEE11C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03575" y="3390838"/>
            <a:ext cx="2735263" cy="355993"/>
          </a:xfrm>
        </p:spPr>
        <p:txBody>
          <a:bodyPr lIns="144000" rIns="144000" anchor="b"/>
          <a:lstStyle>
            <a:lvl1pPr marL="0" indent="0" algn="ctr" rtl="0">
              <a:lnSpc>
                <a:spcPct val="95000"/>
              </a:lnSpc>
              <a:spcBef>
                <a:spcPts val="0"/>
              </a:spcBef>
              <a:buNone/>
              <a:tabLst/>
              <a:defRPr sz="1800" b="1"/>
            </a:lvl1pPr>
            <a:lvl2pPr marL="0" indent="0">
              <a:buNone/>
              <a:tabLst/>
              <a:defRPr sz="1200"/>
            </a:lvl2pPr>
            <a:lvl3pPr marL="0" indent="0">
              <a:buNone/>
              <a:tabLst/>
              <a:defRPr sz="1200"/>
            </a:lvl3pPr>
            <a:lvl4pPr marL="0" indent="0">
              <a:buNone/>
              <a:tabLst/>
              <a:defRPr sz="1200"/>
            </a:lvl4pPr>
            <a:lvl5pPr marL="0" indent="0">
              <a:buNone/>
              <a:tabLst/>
              <a:defRPr sz="1200"/>
            </a:lvl5pPr>
          </a:lstStyle>
          <a:p>
            <a:pPr lvl="0"/>
            <a:r>
              <a:rPr lang="en-US" noProof="0"/>
              <a:t>Click to add headline</a:t>
            </a:r>
          </a:p>
        </p:txBody>
      </p:sp>
      <p:sp>
        <p:nvSpPr>
          <p:cNvPr id="30" name="Platshållare för text 11">
            <a:extLst>
              <a:ext uri="{FF2B5EF4-FFF2-40B4-BE49-F238E27FC236}">
                <a16:creationId xmlns:a16="http://schemas.microsoft.com/office/drawing/2014/main" id="{642F0A82-A9F6-AF48-B15A-56A4F0C4908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03575" y="3777335"/>
            <a:ext cx="2736000" cy="918490"/>
          </a:xfrm>
        </p:spPr>
        <p:txBody>
          <a:bodyPr lIns="180000" rIns="180000"/>
          <a:lstStyle>
            <a:lvl1pPr marL="15875" indent="-15875" algn="ctr" rtl="0">
              <a:buNone/>
              <a:tabLst/>
              <a:defRPr sz="1400"/>
            </a:lvl1pPr>
            <a:lvl2pPr marL="15875" indent="-15875" algn="ctr">
              <a:buNone/>
              <a:tabLst/>
              <a:defRPr sz="1200"/>
            </a:lvl2pPr>
            <a:lvl3pPr marL="15875" indent="-15875" algn="ctr">
              <a:buNone/>
              <a:tabLst/>
              <a:defRPr sz="1200"/>
            </a:lvl3pPr>
            <a:lvl4pPr marL="15875" indent="-15875" algn="ctr">
              <a:buNone/>
              <a:tabLst/>
              <a:defRPr sz="1200"/>
            </a:lvl4pPr>
            <a:lvl5pPr marL="15875" indent="-15875" algn="ctr">
              <a:buNone/>
              <a:tabLst/>
              <a:defRPr sz="12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31" name="Platshållare för text 11">
            <a:extLst>
              <a:ext uri="{FF2B5EF4-FFF2-40B4-BE49-F238E27FC236}">
                <a16:creationId xmlns:a16="http://schemas.microsoft.com/office/drawing/2014/main" id="{54CE80BA-70B6-674B-8EEE-564BBFD7E63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84888" y="3390838"/>
            <a:ext cx="2735262" cy="355993"/>
          </a:xfrm>
        </p:spPr>
        <p:txBody>
          <a:bodyPr lIns="144000" rIns="144000" anchor="b"/>
          <a:lstStyle>
            <a:lvl1pPr marL="0" indent="0" algn="ctr" rtl="0">
              <a:lnSpc>
                <a:spcPct val="95000"/>
              </a:lnSpc>
              <a:spcBef>
                <a:spcPts val="0"/>
              </a:spcBef>
              <a:buNone/>
              <a:tabLst/>
              <a:defRPr sz="1800" b="1"/>
            </a:lvl1pPr>
            <a:lvl2pPr marL="0" indent="0">
              <a:buNone/>
              <a:tabLst/>
              <a:defRPr sz="1200"/>
            </a:lvl2pPr>
            <a:lvl3pPr marL="0" indent="0">
              <a:buNone/>
              <a:tabLst/>
              <a:defRPr sz="1200"/>
            </a:lvl3pPr>
            <a:lvl4pPr marL="0" indent="0">
              <a:buNone/>
              <a:tabLst/>
              <a:defRPr sz="1200"/>
            </a:lvl4pPr>
            <a:lvl5pPr marL="0" indent="0">
              <a:buNone/>
              <a:tabLst/>
              <a:defRPr sz="1200"/>
            </a:lvl5pPr>
          </a:lstStyle>
          <a:p>
            <a:pPr lvl="0"/>
            <a:r>
              <a:rPr lang="en-US" noProof="0"/>
              <a:t>Click to add headline</a:t>
            </a:r>
          </a:p>
        </p:txBody>
      </p:sp>
      <p:sp>
        <p:nvSpPr>
          <p:cNvPr id="32" name="Platshållare för text 11">
            <a:extLst>
              <a:ext uri="{FF2B5EF4-FFF2-40B4-BE49-F238E27FC236}">
                <a16:creationId xmlns:a16="http://schemas.microsoft.com/office/drawing/2014/main" id="{F5FFA93D-6EB2-9F4D-A77F-D10B1DBE647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084888" y="3777335"/>
            <a:ext cx="2736000" cy="918490"/>
          </a:xfrm>
        </p:spPr>
        <p:txBody>
          <a:bodyPr lIns="180000" rIns="180000"/>
          <a:lstStyle>
            <a:lvl1pPr marL="15875" indent="-15875" algn="ctr" rtl="0">
              <a:buNone/>
              <a:tabLst/>
              <a:defRPr sz="1400"/>
            </a:lvl1pPr>
            <a:lvl2pPr marL="15875" indent="-15875" algn="ctr">
              <a:buNone/>
              <a:tabLst/>
              <a:defRPr sz="1200"/>
            </a:lvl2pPr>
            <a:lvl3pPr marL="15875" indent="-15875" algn="ctr">
              <a:buNone/>
              <a:tabLst/>
              <a:defRPr sz="1200"/>
            </a:lvl3pPr>
            <a:lvl4pPr marL="15875" indent="-15875" algn="ctr">
              <a:buNone/>
              <a:tabLst/>
              <a:defRPr sz="1200"/>
            </a:lvl4pPr>
            <a:lvl5pPr marL="15875" indent="-15875" algn="ctr">
              <a:buNone/>
              <a:tabLst/>
              <a:defRPr sz="12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3" name="Platshållare för bild 2">
            <a:extLst>
              <a:ext uri="{FF2B5EF4-FFF2-40B4-BE49-F238E27FC236}">
                <a16:creationId xmlns:a16="http://schemas.microsoft.com/office/drawing/2014/main" id="{BF6831D5-0949-4149-AC62-D7EE74E03FA0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199520" y="2003401"/>
            <a:ext cx="992237" cy="992237"/>
          </a:xfrm>
        </p:spPr>
        <p:txBody>
          <a:bodyPr/>
          <a:lstStyle>
            <a:lvl1pPr algn="ctr" rtl="0">
              <a:buNone/>
              <a:defRPr sz="800"/>
            </a:lvl1pPr>
          </a:lstStyle>
          <a:p>
            <a:r>
              <a:rPr lang="en-US" sz="800" noProof="0"/>
              <a:t>Click to add icon</a:t>
            </a:r>
            <a:endParaRPr lang="en-US" noProof="0"/>
          </a:p>
        </p:txBody>
      </p:sp>
      <p:sp>
        <p:nvSpPr>
          <p:cNvPr id="42" name="Rubrik 5">
            <a:extLst>
              <a:ext uri="{FF2B5EF4-FFF2-40B4-BE49-F238E27FC236}">
                <a16:creationId xmlns:a16="http://schemas.microsoft.com/office/drawing/2014/main" id="{4EE3E706-517C-DA49-BD6A-D25F70D7C3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850" y="525600"/>
            <a:ext cx="7056438" cy="619845"/>
          </a:xfrm>
        </p:spPr>
        <p:txBody>
          <a:bodyPr vert="horz" rIns="144000"/>
          <a:lstStyle>
            <a:lvl1pPr rtl="0">
              <a:defRPr sz="3000" spc="-70" baseline="0"/>
            </a:lvl1pPr>
          </a:lstStyle>
          <a:p>
            <a:r>
              <a:rPr lang="en-US" noProof="0"/>
              <a:t>Click to add short headline or delete</a:t>
            </a:r>
          </a:p>
        </p:txBody>
      </p:sp>
      <p:sp>
        <p:nvSpPr>
          <p:cNvPr id="43" name="Platshållare för bild 2">
            <a:extLst>
              <a:ext uri="{FF2B5EF4-FFF2-40B4-BE49-F238E27FC236}">
                <a16:creationId xmlns:a16="http://schemas.microsoft.com/office/drawing/2014/main" id="{BF57B7AA-6436-9944-BED9-277CEAC62278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4076070" y="2003401"/>
            <a:ext cx="992237" cy="992237"/>
          </a:xfrm>
        </p:spPr>
        <p:txBody>
          <a:bodyPr/>
          <a:lstStyle>
            <a:lvl1pPr algn="ctr" rtl="0">
              <a:buNone/>
              <a:defRPr sz="800"/>
            </a:lvl1pPr>
          </a:lstStyle>
          <a:p>
            <a:r>
              <a:rPr lang="en-US" sz="800" noProof="0"/>
              <a:t>Click to add icon</a:t>
            </a:r>
            <a:endParaRPr lang="en-US" noProof="0"/>
          </a:p>
        </p:txBody>
      </p:sp>
      <p:sp>
        <p:nvSpPr>
          <p:cNvPr id="44" name="Platshållare för bild 2">
            <a:extLst>
              <a:ext uri="{FF2B5EF4-FFF2-40B4-BE49-F238E27FC236}">
                <a16:creationId xmlns:a16="http://schemas.microsoft.com/office/drawing/2014/main" id="{D533FAC1-ED80-7B4E-8ECA-38C55CFD41A1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962145" y="2003401"/>
            <a:ext cx="992237" cy="992237"/>
          </a:xfrm>
        </p:spPr>
        <p:txBody>
          <a:bodyPr/>
          <a:lstStyle>
            <a:lvl1pPr algn="ctr" rtl="0">
              <a:buNone/>
              <a:defRPr sz="800"/>
            </a:lvl1pPr>
          </a:lstStyle>
          <a:p>
            <a:r>
              <a:rPr lang="en-US" sz="800" noProof="0"/>
              <a:t>Click to add icon</a:t>
            </a:r>
            <a:endParaRPr lang="en-US" noProof="0"/>
          </a:p>
        </p:txBody>
      </p:sp>
      <p:sp>
        <p:nvSpPr>
          <p:cNvPr id="18" name="Platshållare för sidfot 6">
            <a:extLst>
              <a:ext uri="{FF2B5EF4-FFF2-40B4-BE49-F238E27FC236}">
                <a16:creationId xmlns:a16="http://schemas.microsoft.com/office/drawing/2014/main" id="{004EB2A8-772A-6F45-A53E-60955D52F3A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84887" y="4901296"/>
            <a:ext cx="2879823" cy="1152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 rtl="0">
              <a:defRPr sz="600">
                <a:solidFill>
                  <a:srgbClr val="737373"/>
                </a:solidFill>
              </a:defRPr>
            </a:lvl1pPr>
          </a:lstStyle>
          <a:p>
            <a:r>
              <a:rPr lang="en-US"/>
              <a:t>Go to header/footer to change text 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417055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Three Image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4A35DC4B-A10D-6D0B-4080-65170598B4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840403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7" imgH="277" progId="TCLayout.ActiveDocument.1">
                  <p:embed/>
                </p:oleObj>
              </mc:Choice>
              <mc:Fallback>
                <p:oleObj name="think-cell Folie" r:id="rId3" imgW="277" imgH="277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4A35DC4B-A10D-6D0B-4080-65170598B4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latshållare för bild 3">
            <a:extLst>
              <a:ext uri="{FF2B5EF4-FFF2-40B4-BE49-F238E27FC236}">
                <a16:creationId xmlns:a16="http://schemas.microsoft.com/office/drawing/2014/main" id="{CFB476F6-A1A2-9341-A7CE-364121691484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3204369" y="650874"/>
            <a:ext cx="2735263" cy="2451871"/>
          </a:xfrm>
          <a:blipFill>
            <a:blip r:embed="rId5"/>
            <a:tile tx="0" ty="0" sx="100000" sy="100000" flip="none" algn="tl"/>
          </a:blipFill>
        </p:spPr>
        <p:txBody>
          <a:bodyPr/>
          <a:lstStyle>
            <a:lvl1pPr algn="ctr" rtl="0">
              <a:buNone/>
              <a:defRPr sz="8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en-US" noProof="0"/>
              <a:t>Click on the icon to add an image</a:t>
            </a:r>
          </a:p>
        </p:txBody>
      </p:sp>
      <p:sp>
        <p:nvSpPr>
          <p:cNvPr id="20" name="Platshållare för bild 3">
            <a:extLst>
              <a:ext uri="{FF2B5EF4-FFF2-40B4-BE49-F238E27FC236}">
                <a16:creationId xmlns:a16="http://schemas.microsoft.com/office/drawing/2014/main" id="{AA2CC83E-62F3-474B-9DE5-B6EDF26CA35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084887" y="650874"/>
            <a:ext cx="2735263" cy="2451871"/>
          </a:xfrm>
          <a:blipFill>
            <a:blip r:embed="rId5"/>
            <a:tile tx="0" ty="0" sx="100000" sy="100000" flip="none" algn="tl"/>
          </a:blipFill>
        </p:spPr>
        <p:txBody>
          <a:bodyPr/>
          <a:lstStyle>
            <a:lvl1pPr algn="ctr" rtl="0">
              <a:buNone/>
              <a:defRPr sz="8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en-US" noProof="0"/>
              <a:t>Click on the icon to add an image</a:t>
            </a:r>
          </a:p>
        </p:txBody>
      </p:sp>
      <p:sp>
        <p:nvSpPr>
          <p:cNvPr id="4" name="Platshållare för bild 3">
            <a:extLst>
              <a:ext uri="{FF2B5EF4-FFF2-40B4-BE49-F238E27FC236}">
                <a16:creationId xmlns:a16="http://schemas.microsoft.com/office/drawing/2014/main" id="{A5A31898-D5B1-EE4E-A7EE-E18C844975AA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23850" y="650874"/>
            <a:ext cx="2735263" cy="2451871"/>
          </a:xfrm>
          <a:blipFill>
            <a:blip r:embed="rId5"/>
            <a:tile tx="0" ty="0" sx="100000" sy="100000" flip="none" algn="tl"/>
          </a:blipFill>
        </p:spPr>
        <p:txBody>
          <a:bodyPr/>
          <a:lstStyle>
            <a:lvl1pPr algn="ctr" rtl="0">
              <a:buNone/>
              <a:defRPr sz="8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en-US" noProof="0"/>
              <a:t>Click on the icon to add an image</a:t>
            </a:r>
          </a:p>
        </p:txBody>
      </p:sp>
      <p:sp>
        <p:nvSpPr>
          <p:cNvPr id="16" name="Platshållare för text 15">
            <a:extLst>
              <a:ext uri="{FF2B5EF4-FFF2-40B4-BE49-F238E27FC236}">
                <a16:creationId xmlns:a16="http://schemas.microsoft.com/office/drawing/2014/main" id="{CF7D2E26-08D8-5949-87B2-516D214C08A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3850" y="276226"/>
            <a:ext cx="4176713" cy="276999"/>
          </a:xfrm>
        </p:spPr>
        <p:txBody>
          <a:bodyPr lIns="111600" rIns="144000" anchor="t"/>
          <a:lstStyle>
            <a:lvl1pPr marL="3175" indent="-3175" rtl="0">
              <a:buNone/>
              <a:tabLst/>
              <a:defRPr sz="12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add navigation/chapter tracker</a:t>
            </a:r>
          </a:p>
        </p:txBody>
      </p:sp>
      <p:sp>
        <p:nvSpPr>
          <p:cNvPr id="35" name="Date Placeholder 3">
            <a:extLst>
              <a:ext uri="{FF2B5EF4-FFF2-40B4-BE49-F238E27FC236}">
                <a16:creationId xmlns:a16="http://schemas.microsoft.com/office/drawing/2014/main" id="{EBF909F0-CE1B-3D46-83B7-E4DA279DC19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287" y="4901296"/>
            <a:ext cx="2948826" cy="1152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 rtl="0">
              <a:defRPr sz="600" b="0">
                <a:solidFill>
                  <a:srgbClr val="737373"/>
                </a:solidFill>
              </a:defRPr>
            </a:lvl1pPr>
          </a:lstStyle>
          <a:p>
            <a:fld id="{D66C8405-B129-4783-B7D6-79C60321F131}" type="datetime1">
              <a:rPr lang="en-US" smtClean="0"/>
              <a:pPr/>
              <a:t>8/29/2025</a:t>
            </a:fld>
            <a:endParaRPr lang="en-US"/>
          </a:p>
        </p:txBody>
      </p:sp>
      <p:sp>
        <p:nvSpPr>
          <p:cNvPr id="36" name="Slide Number Placeholder 5">
            <a:extLst>
              <a:ext uri="{FF2B5EF4-FFF2-40B4-BE49-F238E27FC236}">
                <a16:creationId xmlns:a16="http://schemas.microsoft.com/office/drawing/2014/main" id="{EB2FF840-5D29-6845-91DA-E82490F2863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40418" y="5003474"/>
            <a:ext cx="324294" cy="8245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 rtl="0">
              <a:defRPr sz="600" b="0">
                <a:solidFill>
                  <a:srgbClr val="737373"/>
                </a:solidFill>
              </a:defRPr>
            </a:lvl1pPr>
          </a:lstStyle>
          <a:p>
            <a:fld id="{17CD396C-6A52-4D5A-BAE3-92A1CC3BBDE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Platshållare för text 11">
            <a:extLst>
              <a:ext uri="{FF2B5EF4-FFF2-40B4-BE49-F238E27FC236}">
                <a16:creationId xmlns:a16="http://schemas.microsoft.com/office/drawing/2014/main" id="{9539D912-EDEC-D04A-AE66-E4AF2B4B892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3850" y="3390838"/>
            <a:ext cx="2735263" cy="355993"/>
          </a:xfrm>
        </p:spPr>
        <p:txBody>
          <a:bodyPr lIns="144000" rIns="144000" anchor="b"/>
          <a:lstStyle>
            <a:lvl1pPr marL="0" indent="0" algn="ctr" rtl="0">
              <a:lnSpc>
                <a:spcPct val="95000"/>
              </a:lnSpc>
              <a:spcBef>
                <a:spcPts val="0"/>
              </a:spcBef>
              <a:buNone/>
              <a:tabLst/>
              <a:defRPr sz="1800" b="1"/>
            </a:lvl1pPr>
            <a:lvl2pPr marL="0" indent="0">
              <a:buNone/>
              <a:tabLst/>
              <a:defRPr sz="1200"/>
            </a:lvl2pPr>
            <a:lvl3pPr marL="0" indent="0">
              <a:buNone/>
              <a:tabLst/>
              <a:defRPr sz="1200"/>
            </a:lvl3pPr>
            <a:lvl4pPr marL="0" indent="0">
              <a:buNone/>
              <a:tabLst/>
              <a:defRPr sz="1200"/>
            </a:lvl4pPr>
            <a:lvl5pPr marL="0" indent="0">
              <a:buNone/>
              <a:tabLst/>
              <a:defRPr sz="1200"/>
            </a:lvl5pPr>
          </a:lstStyle>
          <a:p>
            <a:pPr lvl="0"/>
            <a:r>
              <a:rPr lang="en-US" noProof="0"/>
              <a:t>Click to add headline</a:t>
            </a:r>
          </a:p>
        </p:txBody>
      </p:sp>
      <p:sp>
        <p:nvSpPr>
          <p:cNvPr id="18" name="Platshållare för text 11">
            <a:extLst>
              <a:ext uri="{FF2B5EF4-FFF2-40B4-BE49-F238E27FC236}">
                <a16:creationId xmlns:a16="http://schemas.microsoft.com/office/drawing/2014/main" id="{42913F9C-29B8-3D4E-A5EA-0F08C0C9FAC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3850" y="3777335"/>
            <a:ext cx="2736000" cy="918490"/>
          </a:xfrm>
        </p:spPr>
        <p:txBody>
          <a:bodyPr lIns="180000" rIns="180000"/>
          <a:lstStyle>
            <a:lvl1pPr marL="15875" indent="-15875" algn="ctr" rtl="0">
              <a:buNone/>
              <a:tabLst/>
              <a:defRPr sz="1400"/>
            </a:lvl1pPr>
            <a:lvl2pPr marL="15875" indent="-15875" algn="ctr">
              <a:buNone/>
              <a:tabLst/>
              <a:defRPr sz="1200"/>
            </a:lvl2pPr>
            <a:lvl3pPr marL="15875" indent="-15875" algn="ctr">
              <a:buNone/>
              <a:tabLst/>
              <a:defRPr sz="1200"/>
            </a:lvl3pPr>
            <a:lvl4pPr marL="15875" indent="-15875" algn="ctr">
              <a:buNone/>
              <a:tabLst/>
              <a:defRPr sz="1200"/>
            </a:lvl4pPr>
            <a:lvl5pPr marL="15875" indent="-15875" algn="ctr">
              <a:buNone/>
              <a:tabLst/>
              <a:defRPr sz="12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22" name="Platshållare för text 11">
            <a:extLst>
              <a:ext uri="{FF2B5EF4-FFF2-40B4-BE49-F238E27FC236}">
                <a16:creationId xmlns:a16="http://schemas.microsoft.com/office/drawing/2014/main" id="{C3C5B55E-94CB-7B47-B062-5D9F39ACF99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03575" y="3390838"/>
            <a:ext cx="2735263" cy="355993"/>
          </a:xfrm>
        </p:spPr>
        <p:txBody>
          <a:bodyPr lIns="144000" rIns="144000" anchor="b"/>
          <a:lstStyle>
            <a:lvl1pPr marL="0" indent="0" algn="ctr" rtl="0">
              <a:lnSpc>
                <a:spcPct val="95000"/>
              </a:lnSpc>
              <a:spcBef>
                <a:spcPts val="0"/>
              </a:spcBef>
              <a:buNone/>
              <a:tabLst/>
              <a:defRPr sz="1800" b="1"/>
            </a:lvl1pPr>
            <a:lvl2pPr marL="0" indent="0">
              <a:buNone/>
              <a:tabLst/>
              <a:defRPr sz="1200"/>
            </a:lvl2pPr>
            <a:lvl3pPr marL="0" indent="0">
              <a:buNone/>
              <a:tabLst/>
              <a:defRPr sz="1200"/>
            </a:lvl3pPr>
            <a:lvl4pPr marL="0" indent="0">
              <a:buNone/>
              <a:tabLst/>
              <a:defRPr sz="1200"/>
            </a:lvl4pPr>
            <a:lvl5pPr marL="0" indent="0">
              <a:buNone/>
              <a:tabLst/>
              <a:defRPr sz="1200"/>
            </a:lvl5pPr>
          </a:lstStyle>
          <a:p>
            <a:pPr lvl="0"/>
            <a:r>
              <a:rPr lang="en-US" noProof="0"/>
              <a:t>Click to add headline</a:t>
            </a:r>
          </a:p>
        </p:txBody>
      </p:sp>
      <p:sp>
        <p:nvSpPr>
          <p:cNvPr id="23" name="Platshållare för text 11">
            <a:extLst>
              <a:ext uri="{FF2B5EF4-FFF2-40B4-BE49-F238E27FC236}">
                <a16:creationId xmlns:a16="http://schemas.microsoft.com/office/drawing/2014/main" id="{A1A87AB1-E04D-7D40-AA0E-7E9AAA85FDD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03575" y="3777335"/>
            <a:ext cx="2736000" cy="918490"/>
          </a:xfrm>
        </p:spPr>
        <p:txBody>
          <a:bodyPr lIns="180000" rIns="180000"/>
          <a:lstStyle>
            <a:lvl1pPr marL="15875" indent="-15875" algn="ctr" rtl="0">
              <a:buNone/>
              <a:tabLst/>
              <a:defRPr sz="1400"/>
            </a:lvl1pPr>
            <a:lvl2pPr marL="15875" indent="-15875" algn="ctr">
              <a:buNone/>
              <a:tabLst/>
              <a:defRPr sz="1200"/>
            </a:lvl2pPr>
            <a:lvl3pPr marL="15875" indent="-15875" algn="ctr">
              <a:buNone/>
              <a:tabLst/>
              <a:defRPr sz="1200"/>
            </a:lvl3pPr>
            <a:lvl4pPr marL="15875" indent="-15875" algn="ctr">
              <a:buNone/>
              <a:tabLst/>
              <a:defRPr sz="1200"/>
            </a:lvl4pPr>
            <a:lvl5pPr marL="15875" indent="-15875" algn="ctr">
              <a:buNone/>
              <a:tabLst/>
              <a:defRPr sz="12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24" name="Platshållare för text 11">
            <a:extLst>
              <a:ext uri="{FF2B5EF4-FFF2-40B4-BE49-F238E27FC236}">
                <a16:creationId xmlns:a16="http://schemas.microsoft.com/office/drawing/2014/main" id="{F30BCF56-210D-1340-ACE8-BFCB24314D0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84888" y="3390838"/>
            <a:ext cx="2735262" cy="355993"/>
          </a:xfrm>
        </p:spPr>
        <p:txBody>
          <a:bodyPr lIns="144000" rIns="144000" anchor="b"/>
          <a:lstStyle>
            <a:lvl1pPr marL="0" indent="0" algn="ctr" rtl="0">
              <a:lnSpc>
                <a:spcPct val="95000"/>
              </a:lnSpc>
              <a:spcBef>
                <a:spcPts val="0"/>
              </a:spcBef>
              <a:buNone/>
              <a:tabLst/>
              <a:defRPr sz="1800" b="1"/>
            </a:lvl1pPr>
            <a:lvl2pPr marL="0" indent="0">
              <a:buNone/>
              <a:tabLst/>
              <a:defRPr sz="1200"/>
            </a:lvl2pPr>
            <a:lvl3pPr marL="0" indent="0">
              <a:buNone/>
              <a:tabLst/>
              <a:defRPr sz="1200"/>
            </a:lvl3pPr>
            <a:lvl4pPr marL="0" indent="0">
              <a:buNone/>
              <a:tabLst/>
              <a:defRPr sz="1200"/>
            </a:lvl4pPr>
            <a:lvl5pPr marL="0" indent="0">
              <a:buNone/>
              <a:tabLst/>
              <a:defRPr sz="1200"/>
            </a:lvl5pPr>
          </a:lstStyle>
          <a:p>
            <a:pPr lvl="0"/>
            <a:r>
              <a:rPr lang="en-US" noProof="0"/>
              <a:t>Click to add headline</a:t>
            </a:r>
          </a:p>
        </p:txBody>
      </p:sp>
      <p:sp>
        <p:nvSpPr>
          <p:cNvPr id="25" name="Platshållare för text 11">
            <a:extLst>
              <a:ext uri="{FF2B5EF4-FFF2-40B4-BE49-F238E27FC236}">
                <a16:creationId xmlns:a16="http://schemas.microsoft.com/office/drawing/2014/main" id="{B6BB44C6-034C-2A4F-9D6D-0F870DF593A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084888" y="3777335"/>
            <a:ext cx="2736000" cy="918490"/>
          </a:xfrm>
        </p:spPr>
        <p:txBody>
          <a:bodyPr lIns="180000" rIns="180000"/>
          <a:lstStyle>
            <a:lvl1pPr marL="15875" indent="-15875" algn="ctr" rtl="0">
              <a:buNone/>
              <a:tabLst/>
              <a:defRPr sz="1400"/>
            </a:lvl1pPr>
            <a:lvl2pPr marL="15875" indent="-15875" algn="ctr">
              <a:buNone/>
              <a:tabLst/>
              <a:defRPr sz="1200"/>
            </a:lvl2pPr>
            <a:lvl3pPr marL="15875" indent="-15875" algn="ctr">
              <a:buNone/>
              <a:tabLst/>
              <a:defRPr sz="1200"/>
            </a:lvl3pPr>
            <a:lvl4pPr marL="15875" indent="-15875" algn="ctr">
              <a:buNone/>
              <a:tabLst/>
              <a:defRPr sz="1200"/>
            </a:lvl4pPr>
            <a:lvl5pPr marL="15875" indent="-15875" algn="ctr">
              <a:buNone/>
              <a:tabLst/>
              <a:defRPr sz="12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21" name="Platshållare för sidfot 6">
            <a:extLst>
              <a:ext uri="{FF2B5EF4-FFF2-40B4-BE49-F238E27FC236}">
                <a16:creationId xmlns:a16="http://schemas.microsoft.com/office/drawing/2014/main" id="{5D5AD7F1-DD0A-5249-BE82-8E2CAFDE673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84887" y="4901296"/>
            <a:ext cx="2879823" cy="1152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 rtl="0">
              <a:defRPr sz="600">
                <a:solidFill>
                  <a:srgbClr val="737373"/>
                </a:solidFill>
              </a:defRPr>
            </a:lvl1pPr>
          </a:lstStyle>
          <a:p>
            <a:r>
              <a:rPr lang="en-US"/>
              <a:t>Go to header/footer to change text 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89354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dified 1 (white background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E1802556-F227-D448-D67E-9BBDB69E22B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29283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7" imgH="277" progId="TCLayout.ActiveDocument.1">
                  <p:embed/>
                </p:oleObj>
              </mc:Choice>
              <mc:Fallback>
                <p:oleObj name="think-cell Folie" r:id="rId3" imgW="277" imgH="277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E1802556-F227-D448-D67E-9BBDB69E22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C57FF860-80C4-F544-9349-277B28F447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173F5EA0-74DD-4B42-983F-3F39BB8DBCEF}" type="datetime1">
              <a:rPr lang="en-US" smtClean="0"/>
              <a:pPr/>
              <a:t>8/29/2025</a:t>
            </a:fld>
            <a:endParaRPr lang="en-US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61938E86-6CF5-9C42-AB2F-96E9B547A11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17CD396C-6A52-4D5A-BAE3-92A1CC3BBDE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Platshållare för text 15">
            <a:extLst>
              <a:ext uri="{FF2B5EF4-FFF2-40B4-BE49-F238E27FC236}">
                <a16:creationId xmlns:a16="http://schemas.microsoft.com/office/drawing/2014/main" id="{03424855-B277-8744-9C85-9975925B820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3849" y="276226"/>
            <a:ext cx="5616575" cy="276999"/>
          </a:xfrm>
        </p:spPr>
        <p:txBody>
          <a:bodyPr lIns="111600" rIns="216000" anchor="t"/>
          <a:lstStyle>
            <a:lvl1pPr marL="3175" indent="-3175" rtl="0">
              <a:buNone/>
              <a:tabLst/>
              <a:defRPr sz="12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add navigation/subheader</a:t>
            </a:r>
          </a:p>
        </p:txBody>
      </p:sp>
      <p:sp>
        <p:nvSpPr>
          <p:cNvPr id="19" name="Platshållare för text 18">
            <a:extLst>
              <a:ext uri="{FF2B5EF4-FFF2-40B4-BE49-F238E27FC236}">
                <a16:creationId xmlns:a16="http://schemas.microsoft.com/office/drawing/2014/main" id="{4615DFA7-0616-B744-975C-88C9447A199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3848" y="4611600"/>
            <a:ext cx="5414400" cy="142886"/>
          </a:xfrm>
        </p:spPr>
        <p:txBody>
          <a:bodyPr lIns="111600" tIns="0" bIns="0" anchor="ctr"/>
          <a:lstStyle>
            <a:lvl1pPr rtl="0">
              <a:buNone/>
              <a:defRPr sz="600"/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/>
            <a:r>
              <a:rPr lang="en-US" noProof="0"/>
              <a:t>*Click to add footnotes</a:t>
            </a:r>
          </a:p>
        </p:txBody>
      </p:sp>
      <p:sp>
        <p:nvSpPr>
          <p:cNvPr id="16" name="Rubrik 1">
            <a:extLst>
              <a:ext uri="{FF2B5EF4-FFF2-40B4-BE49-F238E27FC236}">
                <a16:creationId xmlns:a16="http://schemas.microsoft.com/office/drawing/2014/main" id="{29C1BAB5-302C-E24B-AF46-F5810100CE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850" y="545326"/>
            <a:ext cx="8496299" cy="741454"/>
          </a:xfrm>
        </p:spPr>
        <p:txBody>
          <a:bodyPr vert="horz" rIns="216000"/>
          <a:lstStyle>
            <a:lvl1pPr rtl="0">
              <a:defRPr spc="-50" baseline="0"/>
            </a:lvl1pPr>
          </a:lstStyle>
          <a:p>
            <a:r>
              <a:rPr lang="en-US" noProof="0"/>
              <a:t>Click to add a headline of maximum two lines</a:t>
            </a:r>
          </a:p>
        </p:txBody>
      </p:sp>
      <p:sp>
        <p:nvSpPr>
          <p:cNvPr id="21" name="Platshållare för text 16">
            <a:extLst>
              <a:ext uri="{FF2B5EF4-FFF2-40B4-BE49-F238E27FC236}">
                <a16:creationId xmlns:a16="http://schemas.microsoft.com/office/drawing/2014/main" id="{57967130-C256-E443-BF6D-9CFC31CE5F7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3850" y="1360488"/>
            <a:ext cx="8496300" cy="307568"/>
          </a:xfrm>
        </p:spPr>
        <p:txBody>
          <a:bodyPr lIns="97200" rIns="216000"/>
          <a:lstStyle>
            <a:lvl1pPr marL="0" indent="0" algn="l" rtl="0">
              <a:lnSpc>
                <a:spcPct val="95000"/>
              </a:lnSpc>
              <a:spcBef>
                <a:spcPts val="0"/>
              </a:spcBef>
              <a:buNone/>
              <a:tabLst/>
              <a:defRPr sz="1600" b="1" spc="0" baseline="0"/>
            </a:lvl1pPr>
            <a:lvl2pPr marL="14288" indent="0" algn="ctr">
              <a:tabLst/>
              <a:defRPr/>
            </a:lvl2pPr>
            <a:lvl3pPr marL="14288" indent="0" algn="ctr">
              <a:tabLst/>
              <a:defRPr/>
            </a:lvl3pPr>
            <a:lvl4pPr marL="14288" indent="0" algn="ctr">
              <a:tabLst/>
              <a:defRPr/>
            </a:lvl4pPr>
            <a:lvl5pPr marL="14288" indent="0" algn="ctr">
              <a:tabLst/>
              <a:defRPr/>
            </a:lvl5pPr>
          </a:lstStyle>
          <a:p>
            <a:pPr lvl="0"/>
            <a:r>
              <a:rPr lang="en-US" noProof="0"/>
              <a:t>Click to add subheader</a:t>
            </a:r>
          </a:p>
        </p:txBody>
      </p:sp>
      <p:sp>
        <p:nvSpPr>
          <p:cNvPr id="11" name="Platshållare för sidfot 6">
            <a:extLst>
              <a:ext uri="{FF2B5EF4-FFF2-40B4-BE49-F238E27FC236}">
                <a16:creationId xmlns:a16="http://schemas.microsoft.com/office/drawing/2014/main" id="{4E4579F6-66FC-3140-A0B3-75F166B051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84887" y="4901296"/>
            <a:ext cx="2879823" cy="1152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 rtl="0">
              <a:defRPr sz="600">
                <a:solidFill>
                  <a:srgbClr val="737373"/>
                </a:solidFill>
              </a:defRPr>
            </a:lvl1pPr>
          </a:lstStyle>
          <a:p>
            <a:r>
              <a:rPr lang="en-US"/>
              <a:t>Go to header/footer to change text </a:t>
            </a:r>
          </a:p>
          <a:p>
            <a:endParaRPr lang="en-US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176A2B99-1CF2-D823-A599-AFD2F62BF5A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23850" y="1724025"/>
            <a:ext cx="8496300" cy="288925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Mastertextformat bearbeiten</a:t>
            </a:r>
          </a:p>
          <a:p>
            <a:pPr lvl="1"/>
            <a:r>
              <a:rPr lang="en-US"/>
              <a:t>Zweite Ebene</a:t>
            </a:r>
          </a:p>
          <a:p>
            <a:pPr lvl="2"/>
            <a:r>
              <a:rPr lang="en-US"/>
              <a:t>Dritte Ebene</a:t>
            </a:r>
          </a:p>
          <a:p>
            <a:pPr lvl="3"/>
            <a:r>
              <a:rPr lang="en-US"/>
              <a:t>Vierte Ebene</a:t>
            </a:r>
          </a:p>
          <a:p>
            <a:pPr lvl="4"/>
            <a:r>
              <a:rPr lang="en-US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93981792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Char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36E8100D-7880-A094-4E4B-2A60F47127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54641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7" imgH="277" progId="TCLayout.ActiveDocument.1">
                  <p:embed/>
                </p:oleObj>
              </mc:Choice>
              <mc:Fallback>
                <p:oleObj name="think-cell Folie" r:id="rId3" imgW="277" imgH="277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36E8100D-7880-A094-4E4B-2A60F47127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ubrik 5">
            <a:extLst>
              <a:ext uri="{FF2B5EF4-FFF2-40B4-BE49-F238E27FC236}">
                <a16:creationId xmlns:a16="http://schemas.microsoft.com/office/drawing/2014/main" id="{4F9BFEED-0E03-904F-9847-3F79E60C95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850" y="525600"/>
            <a:ext cx="4173538" cy="1498314"/>
          </a:xfrm>
        </p:spPr>
        <p:txBody>
          <a:bodyPr vert="horz" rIns="216000"/>
          <a:lstStyle>
            <a:lvl1pPr rtl="0">
              <a:defRPr sz="3000" spc="-70" baseline="0"/>
            </a:lvl1pPr>
          </a:lstStyle>
          <a:p>
            <a:r>
              <a:rPr lang="en-US" noProof="0"/>
              <a:t>Click to add a headline of maximum three lines</a:t>
            </a:r>
          </a:p>
        </p:txBody>
      </p:sp>
      <p:sp>
        <p:nvSpPr>
          <p:cNvPr id="16" name="Platshållare för text 15">
            <a:extLst>
              <a:ext uri="{FF2B5EF4-FFF2-40B4-BE49-F238E27FC236}">
                <a16:creationId xmlns:a16="http://schemas.microsoft.com/office/drawing/2014/main" id="{CF7D2E26-08D8-5949-87B2-516D214C08A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3850" y="276226"/>
            <a:ext cx="4173538" cy="276999"/>
          </a:xfrm>
        </p:spPr>
        <p:txBody>
          <a:bodyPr lIns="111600" rIns="216000" anchor="t"/>
          <a:lstStyle>
            <a:lvl1pPr marL="3175" indent="-3175" rtl="0">
              <a:buNone/>
              <a:tabLst/>
              <a:defRPr sz="12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add navigation/chapter tracker</a:t>
            </a:r>
          </a:p>
        </p:txBody>
      </p:sp>
      <p:sp>
        <p:nvSpPr>
          <p:cNvPr id="4" name="Platshållare för bild 3">
            <a:extLst>
              <a:ext uri="{FF2B5EF4-FFF2-40B4-BE49-F238E27FC236}">
                <a16:creationId xmlns:a16="http://schemas.microsoft.com/office/drawing/2014/main" id="{0C18E683-E62F-A04E-9D50-572DEA18E06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646613" y="158750"/>
            <a:ext cx="4318000" cy="4681538"/>
          </a:xfrm>
          <a:blipFill>
            <a:blip r:embed="rId5"/>
            <a:tile tx="0" ty="0" sx="100000" sy="100000" flip="none" algn="tl"/>
          </a:blipFill>
        </p:spPr>
        <p:txBody>
          <a:bodyPr/>
          <a:lstStyle>
            <a:lvl1pPr algn="ctr" rtl="0">
              <a:buNone/>
              <a:defRPr sz="8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en-US" noProof="0"/>
              <a:t>Click on the icon to add an image</a:t>
            </a:r>
          </a:p>
        </p:txBody>
      </p:sp>
      <p:sp>
        <p:nvSpPr>
          <p:cNvPr id="38" name="Date Placeholder 3">
            <a:extLst>
              <a:ext uri="{FF2B5EF4-FFF2-40B4-BE49-F238E27FC236}">
                <a16:creationId xmlns:a16="http://schemas.microsoft.com/office/drawing/2014/main" id="{B7D04508-015B-A24C-A068-9517A03041E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287" y="4901296"/>
            <a:ext cx="2948826" cy="1152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 rtl="0">
              <a:defRPr sz="600" b="0">
                <a:solidFill>
                  <a:srgbClr val="737373"/>
                </a:solidFill>
              </a:defRPr>
            </a:lvl1pPr>
          </a:lstStyle>
          <a:p>
            <a:fld id="{35A21B5C-A876-4A47-95D4-F8644CCE86AA}" type="datetime1">
              <a:rPr lang="en-US" smtClean="0"/>
              <a:pPr/>
              <a:t>8/29/2025</a:t>
            </a:fld>
            <a:endParaRPr lang="en-US"/>
          </a:p>
        </p:txBody>
      </p:sp>
      <p:sp>
        <p:nvSpPr>
          <p:cNvPr id="39" name="Slide Number Placeholder 5">
            <a:extLst>
              <a:ext uri="{FF2B5EF4-FFF2-40B4-BE49-F238E27FC236}">
                <a16:creationId xmlns:a16="http://schemas.microsoft.com/office/drawing/2014/main" id="{24E3E452-24F0-1B44-9014-429AC576B5B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40418" y="5003474"/>
            <a:ext cx="324294" cy="8245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 rtl="0">
              <a:defRPr sz="600" b="0">
                <a:solidFill>
                  <a:srgbClr val="737373"/>
                </a:solidFill>
              </a:defRPr>
            </a:lvl1pPr>
          </a:lstStyle>
          <a:p>
            <a:fld id="{17CD396C-6A52-4D5A-BAE3-92A1CC3BBDE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Platshållare för diagram 2">
            <a:extLst>
              <a:ext uri="{FF2B5EF4-FFF2-40B4-BE49-F238E27FC236}">
                <a16:creationId xmlns:a16="http://schemas.microsoft.com/office/drawing/2014/main" id="{D12947F2-2E24-E74E-ABD3-2D0BB0AEAA87}"/>
              </a:ext>
            </a:extLst>
          </p:cNvPr>
          <p:cNvSpPr>
            <a:spLocks noGrp="1"/>
          </p:cNvSpPr>
          <p:nvPr>
            <p:ph type="chart" sz="quarter" idx="16" hasCustomPrompt="1"/>
          </p:nvPr>
        </p:nvSpPr>
        <p:spPr>
          <a:xfrm>
            <a:off x="323850" y="2103438"/>
            <a:ext cx="4025900" cy="2592387"/>
          </a:xfrm>
        </p:spPr>
        <p:txBody>
          <a:bodyPr/>
          <a:lstStyle>
            <a:lvl1pPr algn="ctr" rtl="0">
              <a:buNone/>
              <a:defRPr sz="800"/>
            </a:lvl1pPr>
          </a:lstStyle>
          <a:p>
            <a:r>
              <a:rPr lang="en-US" noProof="0"/>
              <a:t>Click on the icon to add chart</a:t>
            </a:r>
          </a:p>
        </p:txBody>
      </p:sp>
      <p:sp>
        <p:nvSpPr>
          <p:cNvPr id="10" name="Platshållare för sidfot 6">
            <a:extLst>
              <a:ext uri="{FF2B5EF4-FFF2-40B4-BE49-F238E27FC236}">
                <a16:creationId xmlns:a16="http://schemas.microsoft.com/office/drawing/2014/main" id="{29FB046A-7260-684A-8AE8-A5E2FA93828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84887" y="4901296"/>
            <a:ext cx="2879823" cy="1152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 rtl="0">
              <a:defRPr sz="600">
                <a:solidFill>
                  <a:srgbClr val="737373"/>
                </a:solidFill>
              </a:defRPr>
            </a:lvl1pPr>
          </a:lstStyle>
          <a:p>
            <a:r>
              <a:rPr lang="en-US"/>
              <a:t>Go to header/footer to change text 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226727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51C622BE-26C5-16B8-4DC5-CB57C0C71C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23900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7" imgH="277" progId="TCLayout.ActiveDocument.1">
                  <p:embed/>
                </p:oleObj>
              </mc:Choice>
              <mc:Fallback>
                <p:oleObj name="think-cell Folie" r:id="rId3" imgW="277" imgH="277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51C622BE-26C5-16B8-4DC5-CB57C0C71C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ktangel 9">
            <a:extLst>
              <a:ext uri="{FF2B5EF4-FFF2-40B4-BE49-F238E27FC236}">
                <a16:creationId xmlns:a16="http://schemas.microsoft.com/office/drawing/2014/main" id="{A1839504-BA43-3148-B19E-480FB1E15F74}"/>
              </a:ext>
            </a:extLst>
          </p:cNvPr>
          <p:cNvSpPr/>
          <p:nvPr userDrawn="1"/>
        </p:nvSpPr>
        <p:spPr>
          <a:xfrm>
            <a:off x="6084888" y="158750"/>
            <a:ext cx="2879725" cy="468153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6" name="Rubrik 5">
            <a:extLst>
              <a:ext uri="{FF2B5EF4-FFF2-40B4-BE49-F238E27FC236}">
                <a16:creationId xmlns:a16="http://schemas.microsoft.com/office/drawing/2014/main" id="{4F9BFEED-0E03-904F-9847-3F79E60C95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849" y="525600"/>
            <a:ext cx="5616575" cy="1498314"/>
          </a:xfrm>
        </p:spPr>
        <p:txBody>
          <a:bodyPr vert="horz" rIns="144000"/>
          <a:lstStyle>
            <a:lvl1pPr rtl="0">
              <a:defRPr sz="3000" spc="-70" baseline="0"/>
            </a:lvl1pPr>
          </a:lstStyle>
          <a:p>
            <a:r>
              <a:rPr lang="en-US" noProof="0"/>
              <a:t>Click to add a headline of maximum three lines</a:t>
            </a:r>
          </a:p>
        </p:txBody>
      </p:sp>
      <p:sp>
        <p:nvSpPr>
          <p:cNvPr id="12" name="Platshållare för text 11">
            <a:extLst>
              <a:ext uri="{FF2B5EF4-FFF2-40B4-BE49-F238E27FC236}">
                <a16:creationId xmlns:a16="http://schemas.microsoft.com/office/drawing/2014/main" id="{D84E0A46-5973-4E46-9096-4F1FFEB637F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3849" y="2103438"/>
            <a:ext cx="2734161" cy="2592387"/>
          </a:xfrm>
        </p:spPr>
        <p:txBody>
          <a:bodyPr rIns="216000"/>
          <a:lstStyle>
            <a:lvl1pPr rtl="0">
              <a:defRPr sz="1400"/>
            </a:lvl1pPr>
            <a:lvl2pPr rtl="0">
              <a:defRPr sz="1200"/>
            </a:lvl2pPr>
            <a:lvl3pPr rtl="0">
              <a:defRPr sz="1200"/>
            </a:lvl3pPr>
            <a:lvl4pPr rtl="0">
              <a:defRPr sz="1200"/>
            </a:lvl4pPr>
            <a:lvl5pPr rtl="0">
              <a:defRPr sz="1200"/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Platshållare för text 15">
            <a:extLst>
              <a:ext uri="{FF2B5EF4-FFF2-40B4-BE49-F238E27FC236}">
                <a16:creationId xmlns:a16="http://schemas.microsoft.com/office/drawing/2014/main" id="{CF7D2E26-08D8-5949-87B2-516D214C08A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3850" y="276226"/>
            <a:ext cx="4176713" cy="276999"/>
          </a:xfrm>
        </p:spPr>
        <p:txBody>
          <a:bodyPr lIns="111600" rIns="144000" anchor="t"/>
          <a:lstStyle>
            <a:lvl1pPr marL="3175" indent="-3175" rtl="0">
              <a:buNone/>
              <a:tabLst/>
              <a:defRPr sz="12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add navigation/chapter tracker</a:t>
            </a:r>
          </a:p>
        </p:txBody>
      </p:sp>
      <p:sp>
        <p:nvSpPr>
          <p:cNvPr id="9" name="Platshållare för diagram 8">
            <a:extLst>
              <a:ext uri="{FF2B5EF4-FFF2-40B4-BE49-F238E27FC236}">
                <a16:creationId xmlns:a16="http://schemas.microsoft.com/office/drawing/2014/main" id="{A91A41A0-04EF-2048-AE61-5DDC5148F93A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6221942" y="627063"/>
            <a:ext cx="2605617" cy="2500617"/>
          </a:xfrm>
        </p:spPr>
        <p:txBody>
          <a:bodyPr/>
          <a:lstStyle>
            <a:lvl1pPr algn="ctr" rtl="0">
              <a:buNone/>
              <a:defRPr sz="800"/>
            </a:lvl1pPr>
          </a:lstStyle>
          <a:p>
            <a:r>
              <a:rPr lang="en-US" noProof="0"/>
              <a:t>Click on the icon to add chart</a:t>
            </a:r>
          </a:p>
        </p:txBody>
      </p:sp>
      <p:sp>
        <p:nvSpPr>
          <p:cNvPr id="38" name="Date Placeholder 3">
            <a:extLst>
              <a:ext uri="{FF2B5EF4-FFF2-40B4-BE49-F238E27FC236}">
                <a16:creationId xmlns:a16="http://schemas.microsoft.com/office/drawing/2014/main" id="{9AD8DCC8-E09D-6045-BD4F-CD56F045E71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287" y="4901296"/>
            <a:ext cx="2948826" cy="1152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 rtl="0">
              <a:defRPr sz="600" b="0">
                <a:solidFill>
                  <a:srgbClr val="737373"/>
                </a:solidFill>
              </a:defRPr>
            </a:lvl1pPr>
          </a:lstStyle>
          <a:p>
            <a:fld id="{831C9553-7A3C-4C05-8200-B0191082DFA5}" type="datetime1">
              <a:rPr lang="en-US" smtClean="0"/>
              <a:pPr/>
              <a:t>8/29/2025</a:t>
            </a:fld>
            <a:endParaRPr lang="en-US"/>
          </a:p>
        </p:txBody>
      </p:sp>
      <p:sp>
        <p:nvSpPr>
          <p:cNvPr id="39" name="Slide Number Placeholder 5">
            <a:extLst>
              <a:ext uri="{FF2B5EF4-FFF2-40B4-BE49-F238E27FC236}">
                <a16:creationId xmlns:a16="http://schemas.microsoft.com/office/drawing/2014/main" id="{8146F900-BA4E-2B4B-B712-8BFC2919DD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40418" y="5003474"/>
            <a:ext cx="324294" cy="8245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 rtl="0">
              <a:defRPr sz="600" b="0">
                <a:solidFill>
                  <a:srgbClr val="737373"/>
                </a:solidFill>
              </a:defRPr>
            </a:lvl1pPr>
          </a:lstStyle>
          <a:p>
            <a:fld id="{17CD396C-6A52-4D5A-BAE3-92A1CC3BBDE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Platshållare för text 11">
            <a:extLst>
              <a:ext uri="{FF2B5EF4-FFF2-40B4-BE49-F238E27FC236}">
                <a16:creationId xmlns:a16="http://schemas.microsoft.com/office/drawing/2014/main" id="{089CFEC7-99C6-0746-8ADC-4898C034789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206262" y="2103438"/>
            <a:ext cx="2734161" cy="2592387"/>
          </a:xfrm>
        </p:spPr>
        <p:txBody>
          <a:bodyPr rIns="216000"/>
          <a:lstStyle>
            <a:lvl1pPr rtl="0">
              <a:defRPr sz="1400"/>
            </a:lvl1pPr>
            <a:lvl2pPr rtl="0">
              <a:defRPr sz="1200"/>
            </a:lvl2pPr>
            <a:lvl3pPr rtl="0">
              <a:defRPr sz="1200"/>
            </a:lvl3pPr>
            <a:lvl4pPr rtl="0">
              <a:defRPr sz="1200"/>
            </a:lvl4pPr>
            <a:lvl5pPr rtl="0">
              <a:defRPr sz="1200"/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Platshållare för text 11">
            <a:extLst>
              <a:ext uri="{FF2B5EF4-FFF2-40B4-BE49-F238E27FC236}">
                <a16:creationId xmlns:a16="http://schemas.microsoft.com/office/drawing/2014/main" id="{67982006-AFBB-0E47-AD42-44CEB05BBE1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228254" y="3390838"/>
            <a:ext cx="2595600" cy="355993"/>
          </a:xfrm>
        </p:spPr>
        <p:txBody>
          <a:bodyPr lIns="144000" rIns="144000" anchor="b"/>
          <a:lstStyle>
            <a:lvl1pPr marL="0" indent="0" algn="ctr" rtl="0">
              <a:lnSpc>
                <a:spcPct val="95000"/>
              </a:lnSpc>
              <a:spcBef>
                <a:spcPts val="0"/>
              </a:spcBef>
              <a:buNone/>
              <a:tabLst/>
              <a:defRPr sz="1800" b="1"/>
            </a:lvl1pPr>
            <a:lvl2pPr marL="0" indent="0">
              <a:buNone/>
              <a:tabLst/>
              <a:defRPr sz="1200"/>
            </a:lvl2pPr>
            <a:lvl3pPr marL="0" indent="0">
              <a:buNone/>
              <a:tabLst/>
              <a:defRPr sz="1200"/>
            </a:lvl3pPr>
            <a:lvl4pPr marL="0" indent="0">
              <a:buNone/>
              <a:tabLst/>
              <a:defRPr sz="1200"/>
            </a:lvl4pPr>
            <a:lvl5pPr marL="0" indent="0">
              <a:buNone/>
              <a:tabLst/>
              <a:defRPr sz="1200"/>
            </a:lvl5pPr>
          </a:lstStyle>
          <a:p>
            <a:pPr lvl="0"/>
            <a:r>
              <a:rPr lang="en-US" noProof="0"/>
              <a:t>Click to add headline</a:t>
            </a:r>
          </a:p>
        </p:txBody>
      </p:sp>
      <p:sp>
        <p:nvSpPr>
          <p:cNvPr id="18" name="Platshållare för text 11">
            <a:extLst>
              <a:ext uri="{FF2B5EF4-FFF2-40B4-BE49-F238E27FC236}">
                <a16:creationId xmlns:a16="http://schemas.microsoft.com/office/drawing/2014/main" id="{754D20A8-6A7E-3C4B-82E9-6F1713B7D67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25646" y="3777335"/>
            <a:ext cx="2598208" cy="918490"/>
          </a:xfrm>
        </p:spPr>
        <p:txBody>
          <a:bodyPr lIns="216000" rIns="216000"/>
          <a:lstStyle>
            <a:lvl1pPr marL="15875" indent="-15875" algn="ctr" rtl="0">
              <a:buNone/>
              <a:tabLst/>
              <a:defRPr sz="1400"/>
            </a:lvl1pPr>
            <a:lvl2pPr marL="15875" indent="-15875" algn="ctr">
              <a:buNone/>
              <a:tabLst/>
              <a:defRPr sz="1200"/>
            </a:lvl2pPr>
            <a:lvl3pPr marL="15875" indent="-15875" algn="ctr">
              <a:buNone/>
              <a:tabLst/>
              <a:defRPr sz="1200"/>
            </a:lvl3pPr>
            <a:lvl4pPr marL="15875" indent="-15875" algn="ctr">
              <a:buNone/>
              <a:tabLst/>
              <a:defRPr sz="1200"/>
            </a:lvl4pPr>
            <a:lvl5pPr marL="15875" indent="-15875" algn="ctr">
              <a:buNone/>
              <a:tabLst/>
              <a:defRPr sz="12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5" name="Platshållare för sidfot 6">
            <a:extLst>
              <a:ext uri="{FF2B5EF4-FFF2-40B4-BE49-F238E27FC236}">
                <a16:creationId xmlns:a16="http://schemas.microsoft.com/office/drawing/2014/main" id="{75B76674-8D8E-5447-A5ED-487EED102E9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84887" y="4901296"/>
            <a:ext cx="2879823" cy="1152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 rtl="0">
              <a:defRPr sz="600">
                <a:solidFill>
                  <a:srgbClr val="737373"/>
                </a:solidFill>
              </a:defRPr>
            </a:lvl1pPr>
          </a:lstStyle>
          <a:p>
            <a:r>
              <a:rPr lang="en-US"/>
              <a:t>Go to header/footer to change text 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63428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Headlin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A8B7DC5C-F53C-C043-7131-D9E81C8B3C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642755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7" imgH="277" progId="TCLayout.ActiveDocument.1">
                  <p:embed/>
                </p:oleObj>
              </mc:Choice>
              <mc:Fallback>
                <p:oleObj name="think-cell Folie" r:id="rId3" imgW="277" imgH="277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A8B7DC5C-F53C-C043-7131-D9E81C8B3C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ubrik 5">
            <a:extLst>
              <a:ext uri="{FF2B5EF4-FFF2-40B4-BE49-F238E27FC236}">
                <a16:creationId xmlns:a16="http://schemas.microsoft.com/office/drawing/2014/main" id="{4F9BFEED-0E03-904F-9847-3F79E60C95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848" y="525600"/>
            <a:ext cx="7056440" cy="1498314"/>
          </a:xfrm>
        </p:spPr>
        <p:txBody>
          <a:bodyPr vert="horz" rIns="144000"/>
          <a:lstStyle>
            <a:lvl1pPr rtl="0">
              <a:defRPr sz="3000" spc="-70" baseline="0"/>
            </a:lvl1pPr>
          </a:lstStyle>
          <a:p>
            <a:r>
              <a:rPr lang="en-US" noProof="0"/>
              <a:t>Click to add a headline of maximum three lines</a:t>
            </a:r>
          </a:p>
        </p:txBody>
      </p:sp>
      <p:sp>
        <p:nvSpPr>
          <p:cNvPr id="16" name="Platshållare för text 15">
            <a:extLst>
              <a:ext uri="{FF2B5EF4-FFF2-40B4-BE49-F238E27FC236}">
                <a16:creationId xmlns:a16="http://schemas.microsoft.com/office/drawing/2014/main" id="{CF7D2E26-08D8-5949-87B2-516D214C08A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3850" y="276226"/>
            <a:ext cx="4176713" cy="276999"/>
          </a:xfrm>
        </p:spPr>
        <p:txBody>
          <a:bodyPr lIns="111600" rIns="144000" anchor="t"/>
          <a:lstStyle>
            <a:lvl1pPr marL="3175" indent="-3175" rtl="0">
              <a:buNone/>
              <a:tabLst/>
              <a:defRPr sz="12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add navigation/chapter tracker</a:t>
            </a:r>
          </a:p>
        </p:txBody>
      </p:sp>
      <p:sp>
        <p:nvSpPr>
          <p:cNvPr id="35" name="Date Placeholder 3">
            <a:extLst>
              <a:ext uri="{FF2B5EF4-FFF2-40B4-BE49-F238E27FC236}">
                <a16:creationId xmlns:a16="http://schemas.microsoft.com/office/drawing/2014/main" id="{EBF909F0-CE1B-3D46-83B7-E4DA279DC19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287" y="4901296"/>
            <a:ext cx="2948826" cy="1152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 rtl="0">
              <a:defRPr sz="600" b="0">
                <a:solidFill>
                  <a:srgbClr val="737373"/>
                </a:solidFill>
              </a:defRPr>
            </a:lvl1pPr>
          </a:lstStyle>
          <a:p>
            <a:fld id="{07913D13-2CBC-4D34-AE0E-134CD65B932C}" type="datetime1">
              <a:rPr lang="en-US" smtClean="0"/>
              <a:pPr/>
              <a:t>8/29/2025</a:t>
            </a:fld>
            <a:endParaRPr lang="en-US"/>
          </a:p>
        </p:txBody>
      </p:sp>
      <p:sp>
        <p:nvSpPr>
          <p:cNvPr id="36" name="Slide Number Placeholder 5">
            <a:extLst>
              <a:ext uri="{FF2B5EF4-FFF2-40B4-BE49-F238E27FC236}">
                <a16:creationId xmlns:a16="http://schemas.microsoft.com/office/drawing/2014/main" id="{EB2FF840-5D29-6845-91DA-E82490F2863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40418" y="5003474"/>
            <a:ext cx="324294" cy="8245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 rtl="0">
              <a:defRPr sz="600" b="0">
                <a:solidFill>
                  <a:srgbClr val="737373"/>
                </a:solidFill>
              </a:defRPr>
            </a:lvl1pPr>
          </a:lstStyle>
          <a:p>
            <a:fld id="{17CD396C-6A52-4D5A-BAE3-92A1CC3BBDE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Platshållare för sidfot 6">
            <a:extLst>
              <a:ext uri="{FF2B5EF4-FFF2-40B4-BE49-F238E27FC236}">
                <a16:creationId xmlns:a16="http://schemas.microsoft.com/office/drawing/2014/main" id="{616B5AAB-F6E7-9147-98E7-3D0B31E4B4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84887" y="4901296"/>
            <a:ext cx="2879823" cy="1152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 rtl="0">
              <a:defRPr sz="600">
                <a:solidFill>
                  <a:srgbClr val="737373"/>
                </a:solidFill>
              </a:defRPr>
            </a:lvl1pPr>
          </a:lstStyle>
          <a:p>
            <a:r>
              <a:rPr lang="en-US"/>
              <a:t>Go to header/footer to change text 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58896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331CA28A-658E-61E9-CD0F-7CFBDF0F13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635784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7" imgH="277" progId="TCLayout.ActiveDocument.1">
                  <p:embed/>
                </p:oleObj>
              </mc:Choice>
              <mc:Fallback>
                <p:oleObj name="think-cell Folie" r:id="rId3" imgW="277" imgH="277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331CA28A-658E-61E9-CD0F-7CFBDF0F13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Date Placeholder 3">
            <a:extLst>
              <a:ext uri="{FF2B5EF4-FFF2-40B4-BE49-F238E27FC236}">
                <a16:creationId xmlns:a16="http://schemas.microsoft.com/office/drawing/2014/main" id="{EBF909F0-CE1B-3D46-83B7-E4DA279DC19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287" y="4901296"/>
            <a:ext cx="2948826" cy="1152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 rtl="0">
              <a:defRPr sz="600" b="0">
                <a:solidFill>
                  <a:srgbClr val="737373"/>
                </a:solidFill>
              </a:defRPr>
            </a:lvl1pPr>
          </a:lstStyle>
          <a:p>
            <a:fld id="{047F50CC-348D-4799-B776-1FB9C016F973}" type="datetime1">
              <a:rPr lang="en-US" smtClean="0"/>
              <a:pPr/>
              <a:t>8/29/2025</a:t>
            </a:fld>
            <a:endParaRPr lang="en-US"/>
          </a:p>
        </p:txBody>
      </p:sp>
      <p:sp>
        <p:nvSpPr>
          <p:cNvPr id="36" name="Slide Number Placeholder 5">
            <a:extLst>
              <a:ext uri="{FF2B5EF4-FFF2-40B4-BE49-F238E27FC236}">
                <a16:creationId xmlns:a16="http://schemas.microsoft.com/office/drawing/2014/main" id="{EB2FF840-5D29-6845-91DA-E82490F2863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40418" y="5003474"/>
            <a:ext cx="324294" cy="8245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 rtl="0">
              <a:defRPr sz="600" b="0">
                <a:solidFill>
                  <a:srgbClr val="737373"/>
                </a:solidFill>
              </a:defRPr>
            </a:lvl1pPr>
          </a:lstStyle>
          <a:p>
            <a:fld id="{17CD396C-6A52-4D5A-BAE3-92A1CC3BBDE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Platshållare för bild 2">
            <a:extLst>
              <a:ext uri="{FF2B5EF4-FFF2-40B4-BE49-F238E27FC236}">
                <a16:creationId xmlns:a16="http://schemas.microsoft.com/office/drawing/2014/main" id="{9F1AC932-946D-0741-A2C9-2D08F508482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79388" y="158750"/>
            <a:ext cx="8785322" cy="4681538"/>
          </a:xfrm>
          <a:blipFill>
            <a:blip r:embed="rId5"/>
            <a:tile tx="0" ty="0" sx="100000" sy="100000" flip="none" algn="tl"/>
          </a:blipFill>
        </p:spPr>
        <p:txBody>
          <a:bodyPr/>
          <a:lstStyle>
            <a:lvl1pPr algn="ctr" rtl="0">
              <a:buNone/>
              <a:defRPr sz="8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en-US" noProof="0"/>
              <a:t>Click on the icon to add an image</a:t>
            </a:r>
          </a:p>
        </p:txBody>
      </p:sp>
      <p:sp>
        <p:nvSpPr>
          <p:cNvPr id="6" name="Platshållare för sidfot 6">
            <a:extLst>
              <a:ext uri="{FF2B5EF4-FFF2-40B4-BE49-F238E27FC236}">
                <a16:creationId xmlns:a16="http://schemas.microsoft.com/office/drawing/2014/main" id="{FD8AC7D3-A9FD-F249-A363-5AE59D634F0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84887" y="4901296"/>
            <a:ext cx="2879823" cy="1152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 rtl="0">
              <a:defRPr sz="600">
                <a:solidFill>
                  <a:srgbClr val="737373"/>
                </a:solidFill>
              </a:defRPr>
            </a:lvl1pPr>
          </a:lstStyle>
          <a:p>
            <a:r>
              <a:rPr lang="en-US"/>
              <a:t>Go to header/footer to change text 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02941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Four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9AAE205F-0CCB-33BD-AB64-B6A984D6AD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04513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7" imgH="277" progId="TCLayout.ActiveDocument.1">
                  <p:embed/>
                </p:oleObj>
              </mc:Choice>
              <mc:Fallback>
                <p:oleObj name="think-cell Folie" r:id="rId3" imgW="277" imgH="277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9AAE205F-0CCB-33BD-AB64-B6A984D6AD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Date Placeholder 3">
            <a:extLst>
              <a:ext uri="{FF2B5EF4-FFF2-40B4-BE49-F238E27FC236}">
                <a16:creationId xmlns:a16="http://schemas.microsoft.com/office/drawing/2014/main" id="{EBF909F0-CE1B-3D46-83B7-E4DA279DC19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287" y="4901296"/>
            <a:ext cx="2948826" cy="1152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 rtl="0">
              <a:defRPr sz="600" b="0">
                <a:solidFill>
                  <a:srgbClr val="737373"/>
                </a:solidFill>
              </a:defRPr>
            </a:lvl1pPr>
          </a:lstStyle>
          <a:p>
            <a:fld id="{9E5172CA-F4E6-4994-8C61-B355C4E7C836}" type="datetime1">
              <a:rPr lang="en-US" smtClean="0"/>
              <a:pPr/>
              <a:t>8/29/2025</a:t>
            </a:fld>
            <a:endParaRPr lang="en-US"/>
          </a:p>
        </p:txBody>
      </p:sp>
      <p:sp>
        <p:nvSpPr>
          <p:cNvPr id="36" name="Slide Number Placeholder 5">
            <a:extLst>
              <a:ext uri="{FF2B5EF4-FFF2-40B4-BE49-F238E27FC236}">
                <a16:creationId xmlns:a16="http://schemas.microsoft.com/office/drawing/2014/main" id="{EB2FF840-5D29-6845-91DA-E82490F2863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40418" y="5003474"/>
            <a:ext cx="324294" cy="8245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 rtl="0">
              <a:defRPr sz="600" b="0">
                <a:solidFill>
                  <a:srgbClr val="737373"/>
                </a:solidFill>
              </a:defRPr>
            </a:lvl1pPr>
          </a:lstStyle>
          <a:p>
            <a:fld id="{17CD396C-6A52-4D5A-BAE3-92A1CC3BBDE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Platshållare för bild 2">
            <a:extLst>
              <a:ext uri="{FF2B5EF4-FFF2-40B4-BE49-F238E27FC236}">
                <a16:creationId xmlns:a16="http://schemas.microsoft.com/office/drawing/2014/main" id="{9F1AC932-946D-0741-A2C9-2D08F508482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79388" y="158750"/>
            <a:ext cx="4321175" cy="2268538"/>
          </a:xfrm>
          <a:blipFill>
            <a:blip r:embed="rId5"/>
            <a:tile tx="0" ty="0" sx="100000" sy="100000" flip="none" algn="tl"/>
          </a:blipFill>
        </p:spPr>
        <p:txBody>
          <a:bodyPr/>
          <a:lstStyle>
            <a:lvl1pPr algn="ctr" rtl="0">
              <a:buNone/>
              <a:defRPr sz="8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en-US" noProof="0"/>
              <a:t>Click on the icon to add an image</a:t>
            </a:r>
          </a:p>
        </p:txBody>
      </p:sp>
      <p:sp>
        <p:nvSpPr>
          <p:cNvPr id="6" name="Platshållare för sidfot 6">
            <a:extLst>
              <a:ext uri="{FF2B5EF4-FFF2-40B4-BE49-F238E27FC236}">
                <a16:creationId xmlns:a16="http://schemas.microsoft.com/office/drawing/2014/main" id="{FD8AC7D3-A9FD-F249-A363-5AE59D634F0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84887" y="4901296"/>
            <a:ext cx="2879823" cy="1152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 rtl="0">
              <a:defRPr sz="600">
                <a:solidFill>
                  <a:srgbClr val="737373"/>
                </a:solidFill>
              </a:defRPr>
            </a:lvl1pPr>
          </a:lstStyle>
          <a:p>
            <a:r>
              <a:rPr lang="en-US"/>
              <a:t>Go to header/footer to change text </a:t>
            </a:r>
          </a:p>
          <a:p>
            <a:endParaRPr lang="en-US"/>
          </a:p>
        </p:txBody>
      </p:sp>
      <p:sp>
        <p:nvSpPr>
          <p:cNvPr id="7" name="Platshållare för bild 2">
            <a:extLst>
              <a:ext uri="{FF2B5EF4-FFF2-40B4-BE49-F238E27FC236}">
                <a16:creationId xmlns:a16="http://schemas.microsoft.com/office/drawing/2014/main" id="{B114F85C-8B26-BE4A-B292-29FD00F542C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643439" y="158750"/>
            <a:ext cx="4321175" cy="2268538"/>
          </a:xfrm>
          <a:blipFill>
            <a:blip r:embed="rId5"/>
            <a:tile tx="0" ty="0" sx="100000" sy="100000" flip="none" algn="tl"/>
          </a:blipFill>
        </p:spPr>
        <p:txBody>
          <a:bodyPr/>
          <a:lstStyle>
            <a:lvl1pPr algn="ctr" rtl="0">
              <a:buNone/>
              <a:defRPr sz="8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en-US" noProof="0"/>
              <a:t>Click on the icon to add an image</a:t>
            </a:r>
          </a:p>
        </p:txBody>
      </p:sp>
      <p:sp>
        <p:nvSpPr>
          <p:cNvPr id="8" name="Platshållare för bild 2">
            <a:extLst>
              <a:ext uri="{FF2B5EF4-FFF2-40B4-BE49-F238E27FC236}">
                <a16:creationId xmlns:a16="http://schemas.microsoft.com/office/drawing/2014/main" id="{C1764068-BB7E-844C-8FE4-5E6E64CD823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79388" y="2572849"/>
            <a:ext cx="4321175" cy="2267439"/>
          </a:xfrm>
          <a:blipFill>
            <a:blip r:embed="rId5"/>
            <a:tile tx="0" ty="0" sx="100000" sy="100000" flip="none" algn="tl"/>
          </a:blipFill>
        </p:spPr>
        <p:txBody>
          <a:bodyPr/>
          <a:lstStyle>
            <a:lvl1pPr algn="ctr" rtl="0">
              <a:buNone/>
              <a:defRPr sz="8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en-US" noProof="0"/>
              <a:t>Click on the icon to add an image</a:t>
            </a:r>
          </a:p>
        </p:txBody>
      </p:sp>
      <p:sp>
        <p:nvSpPr>
          <p:cNvPr id="9" name="Platshållare för bild 2">
            <a:extLst>
              <a:ext uri="{FF2B5EF4-FFF2-40B4-BE49-F238E27FC236}">
                <a16:creationId xmlns:a16="http://schemas.microsoft.com/office/drawing/2014/main" id="{8DDF5D38-B4FD-9A4D-B8B3-F65485F88AA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643439" y="2572849"/>
            <a:ext cx="4321175" cy="2267439"/>
          </a:xfrm>
          <a:blipFill>
            <a:blip r:embed="rId5"/>
            <a:tile tx="0" ty="0" sx="100000" sy="100000" flip="none" algn="tl"/>
          </a:blipFill>
        </p:spPr>
        <p:txBody>
          <a:bodyPr/>
          <a:lstStyle>
            <a:lvl1pPr algn="ctr" rtl="0">
              <a:buNone/>
              <a:defRPr sz="8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en-US" noProof="0"/>
              <a:t>Click on the icon to add an image</a:t>
            </a:r>
          </a:p>
        </p:txBody>
      </p:sp>
    </p:spTree>
    <p:extLst>
      <p:ext uri="{BB962C8B-B14F-4D97-AF65-F5344CB8AC3E}">
        <p14:creationId xmlns:p14="http://schemas.microsoft.com/office/powerpoint/2010/main" val="12931751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75" userDrawn="1">
          <p15:clr>
            <a:srgbClr val="FBAE40"/>
          </p15:clr>
        </p15:guide>
        <p15:guide id="2" orient="horz" pos="1620" userDrawn="1">
          <p15:clr>
            <a:srgbClr val="FBAE40"/>
          </p15:clr>
        </p15:guide>
        <p15:guide id="3" orient="horz" pos="1529" userDrawn="1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Full screen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7986EE74-9D60-664F-8008-90924C0BD2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413781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7" imgH="277" progId="TCLayout.ActiveDocument.1">
                  <p:embed/>
                </p:oleObj>
              </mc:Choice>
              <mc:Fallback>
                <p:oleObj name="think-cell Folie" r:id="rId3" imgW="277" imgH="277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7986EE74-9D60-664F-8008-90924C0BD2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Date Placeholder 3">
            <a:extLst>
              <a:ext uri="{FF2B5EF4-FFF2-40B4-BE49-F238E27FC236}">
                <a16:creationId xmlns:a16="http://schemas.microsoft.com/office/drawing/2014/main" id="{EBF909F0-CE1B-3D46-83B7-E4DA279DC19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287" y="4901296"/>
            <a:ext cx="2948826" cy="1152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 rtl="0">
              <a:defRPr sz="600" b="0">
                <a:solidFill>
                  <a:srgbClr val="737373"/>
                </a:solidFill>
              </a:defRPr>
            </a:lvl1pPr>
          </a:lstStyle>
          <a:p>
            <a:fld id="{405BB5D7-84B9-48F0-9F15-AA4B994B3524}" type="datetime1">
              <a:rPr lang="en-US" smtClean="0"/>
              <a:pPr/>
              <a:t>8/29/2025</a:t>
            </a:fld>
            <a:endParaRPr lang="en-US"/>
          </a:p>
        </p:txBody>
      </p:sp>
      <p:sp>
        <p:nvSpPr>
          <p:cNvPr id="36" name="Slide Number Placeholder 5">
            <a:extLst>
              <a:ext uri="{FF2B5EF4-FFF2-40B4-BE49-F238E27FC236}">
                <a16:creationId xmlns:a16="http://schemas.microsoft.com/office/drawing/2014/main" id="{EB2FF840-5D29-6845-91DA-E82490F2863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40418" y="5003474"/>
            <a:ext cx="324294" cy="8245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 rtl="0">
              <a:defRPr sz="600" b="0">
                <a:solidFill>
                  <a:srgbClr val="737373"/>
                </a:solidFill>
              </a:defRPr>
            </a:lvl1pPr>
          </a:lstStyle>
          <a:p>
            <a:fld id="{17CD396C-6A52-4D5A-BAE3-92A1CC3BBDE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Platshållare för sidfot 6">
            <a:extLst>
              <a:ext uri="{FF2B5EF4-FFF2-40B4-BE49-F238E27FC236}">
                <a16:creationId xmlns:a16="http://schemas.microsoft.com/office/drawing/2014/main" id="{FD7C421D-A908-E241-99C0-BB3A8F81B25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84887" y="4901296"/>
            <a:ext cx="2879823" cy="1152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 rtl="0">
              <a:defRPr sz="600">
                <a:solidFill>
                  <a:srgbClr val="737373"/>
                </a:solidFill>
              </a:defRPr>
            </a:lvl1pPr>
          </a:lstStyle>
          <a:p>
            <a:r>
              <a:rPr lang="en-US"/>
              <a:t>Go to header/footer to change text </a:t>
            </a:r>
          </a:p>
          <a:p>
            <a:endParaRPr lang="en-US"/>
          </a:p>
        </p:txBody>
      </p:sp>
      <p:sp>
        <p:nvSpPr>
          <p:cNvPr id="5" name="Platshållare för media 4">
            <a:extLst>
              <a:ext uri="{FF2B5EF4-FFF2-40B4-BE49-F238E27FC236}">
                <a16:creationId xmlns:a16="http://schemas.microsoft.com/office/drawing/2014/main" id="{426C75EA-3F6F-404B-9ADF-CF64EAB80C72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9144000" cy="5143500"/>
          </a:xfrm>
          <a:solidFill>
            <a:schemeClr val="bg2">
              <a:lumMod val="90000"/>
            </a:schemeClr>
          </a:solidFill>
        </p:spPr>
        <p:txBody>
          <a:bodyPr/>
          <a:lstStyle>
            <a:lvl1pPr marL="17463" indent="-17463" algn="ctr" rtl="0">
              <a:buNone/>
              <a:tabLst/>
              <a:defRPr sz="800"/>
            </a:lvl1pPr>
          </a:lstStyle>
          <a:p>
            <a:r>
              <a:rPr lang="en-US" sz="800" noProof="0"/>
              <a:t>Click on the icon to add video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5620382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Contac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A2CC5D8-CC7D-6B56-0A7C-140D23D562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99738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7" imgH="277" progId="TCLayout.ActiveDocument.1">
                  <p:embed/>
                </p:oleObj>
              </mc:Choice>
              <mc:Fallback>
                <p:oleObj name="think-cell Folie" r:id="rId3" imgW="277" imgH="277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7A2CC5D8-CC7D-6B56-0A7C-140D23D562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ktangel 8">
            <a:extLst>
              <a:ext uri="{FF2B5EF4-FFF2-40B4-BE49-F238E27FC236}">
                <a16:creationId xmlns:a16="http://schemas.microsoft.com/office/drawing/2014/main" id="{E3CDC065-B6AF-4D4A-9B9C-40EB6216A6A9}"/>
              </a:ext>
            </a:extLst>
          </p:cNvPr>
          <p:cNvSpPr/>
          <p:nvPr userDrawn="1"/>
        </p:nvSpPr>
        <p:spPr>
          <a:xfrm>
            <a:off x="6084888" y="158750"/>
            <a:ext cx="2879725" cy="4681538"/>
          </a:xfrm>
          <a:prstGeom prst="rect">
            <a:avLst/>
          </a:prstGeom>
          <a:solidFill>
            <a:srgbClr val="EBF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38CA3AD7-12F8-9F43-820D-33071C26D41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287" y="4901296"/>
            <a:ext cx="2948826" cy="1152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 rtl="0">
              <a:defRPr sz="600" b="0">
                <a:solidFill>
                  <a:srgbClr val="737373"/>
                </a:solidFill>
              </a:defRPr>
            </a:lvl1pPr>
          </a:lstStyle>
          <a:p>
            <a:fld id="{7CE38AEB-699A-4EE5-A290-324FC6D2F653}" type="datetime1">
              <a:rPr lang="en-US" smtClean="0"/>
              <a:pPr/>
              <a:t>8/29/2025</a:t>
            </a:fld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DFED6C3B-4A73-344C-A9A5-F822417888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40418" y="5003474"/>
            <a:ext cx="324294" cy="8245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 rtl="0">
              <a:defRPr sz="600" b="0">
                <a:solidFill>
                  <a:srgbClr val="737373"/>
                </a:solidFill>
              </a:defRPr>
            </a:lvl1pPr>
          </a:lstStyle>
          <a:p>
            <a:fld id="{17CD396C-6A52-4D5A-BAE3-92A1CC3BBDE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Platshållare för bild 2">
            <a:extLst>
              <a:ext uri="{FF2B5EF4-FFF2-40B4-BE49-F238E27FC236}">
                <a16:creationId xmlns:a16="http://schemas.microsoft.com/office/drawing/2014/main" id="{25798999-2A1E-2547-A8D5-4373B7132ADB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79388" y="158750"/>
            <a:ext cx="5761037" cy="4681538"/>
          </a:xfrm>
          <a:blipFill>
            <a:blip r:embed="rId5"/>
            <a:tile tx="0" ty="0" sx="100000" sy="100000" flip="none" algn="tl"/>
          </a:blipFill>
        </p:spPr>
        <p:txBody>
          <a:bodyPr/>
          <a:lstStyle>
            <a:lvl1pPr algn="ctr" rtl="0">
              <a:buNone/>
              <a:defRPr sz="8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en-US" noProof="0"/>
              <a:t>Click on the icon to add an image</a:t>
            </a:r>
          </a:p>
        </p:txBody>
      </p:sp>
      <p:sp>
        <p:nvSpPr>
          <p:cNvPr id="31" name="Rubrik 5">
            <a:extLst>
              <a:ext uri="{FF2B5EF4-FFF2-40B4-BE49-F238E27FC236}">
                <a16:creationId xmlns:a16="http://schemas.microsoft.com/office/drawing/2014/main" id="{144BC857-79CB-DC47-950E-631BB0C708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84888" y="594000"/>
            <a:ext cx="2736526" cy="1029237"/>
          </a:xfrm>
        </p:spPr>
        <p:txBody>
          <a:bodyPr vert="horz" lIns="154800" tIns="64800" rIns="144000"/>
          <a:lstStyle>
            <a:lvl1pPr marL="0" indent="0" rtl="0">
              <a:tabLst/>
              <a:defRPr sz="2000" spc="-50" baseline="0"/>
            </a:lvl1pPr>
          </a:lstStyle>
          <a:p>
            <a:r>
              <a:rPr lang="en-US" noProof="0"/>
              <a:t>Click to add name and job title</a:t>
            </a:r>
          </a:p>
        </p:txBody>
      </p:sp>
      <p:sp>
        <p:nvSpPr>
          <p:cNvPr id="32" name="Platshållare för text 11">
            <a:extLst>
              <a:ext uri="{FF2B5EF4-FFF2-40B4-BE49-F238E27FC236}">
                <a16:creationId xmlns:a16="http://schemas.microsoft.com/office/drawing/2014/main" id="{2ADCBC67-4690-BD43-ABCE-F69DA625BC9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89938" y="2103438"/>
            <a:ext cx="2730212" cy="2592387"/>
          </a:xfrm>
        </p:spPr>
        <p:txBody>
          <a:bodyPr lIns="144000" rIns="144000"/>
          <a:lstStyle>
            <a:lvl1pPr marL="0" indent="0" rtl="0">
              <a:buNone/>
              <a:tabLst/>
              <a:defRPr sz="1200"/>
            </a:lvl1pPr>
            <a:lvl2pPr marL="0" indent="0">
              <a:buNone/>
              <a:tabLst/>
              <a:defRPr sz="1200"/>
            </a:lvl2pPr>
            <a:lvl3pPr marL="0" indent="0">
              <a:buNone/>
              <a:tabLst/>
              <a:defRPr sz="1200"/>
            </a:lvl3pPr>
            <a:lvl4pPr marL="0" indent="0">
              <a:buNone/>
              <a:tabLst/>
              <a:defRPr sz="1200"/>
            </a:lvl4pPr>
            <a:lvl5pPr marL="0" indent="0">
              <a:buNone/>
              <a:tabLst/>
              <a:defRPr sz="1200"/>
            </a:lvl5pPr>
          </a:lstStyle>
          <a:p>
            <a:pPr lvl="0"/>
            <a:r>
              <a:rPr lang="en-US" noProof="0"/>
              <a:t>Click to add contact information</a:t>
            </a:r>
          </a:p>
        </p:txBody>
      </p:sp>
      <p:sp>
        <p:nvSpPr>
          <p:cNvPr id="4" name="textruta 3">
            <a:extLst>
              <a:ext uri="{FF2B5EF4-FFF2-40B4-BE49-F238E27FC236}">
                <a16:creationId xmlns:a16="http://schemas.microsoft.com/office/drawing/2014/main" id="{EEF2FFD1-DBE4-AA42-98BA-1DAD9CA09A52}"/>
              </a:ext>
            </a:extLst>
          </p:cNvPr>
          <p:cNvSpPr txBox="1"/>
          <p:nvPr userDrawn="1"/>
        </p:nvSpPr>
        <p:spPr>
          <a:xfrm>
            <a:off x="6084886" y="276226"/>
            <a:ext cx="2736525" cy="276999"/>
          </a:xfrm>
          <a:prstGeom prst="rect">
            <a:avLst/>
          </a:prstGeom>
          <a:noFill/>
        </p:spPr>
        <p:txBody>
          <a:bodyPr wrap="square" lIns="154800" rIns="144000" rtlCol="0">
            <a:spAutoFit/>
          </a:bodyPr>
          <a:lstStyle/>
          <a:p>
            <a:pPr rtl="0"/>
            <a:r>
              <a:rPr lang="en-US" sz="1200" b="1" noProof="0"/>
              <a:t>Contact</a:t>
            </a:r>
          </a:p>
        </p:txBody>
      </p:sp>
      <p:sp>
        <p:nvSpPr>
          <p:cNvPr id="14" name="Platshållare för sidfot 6">
            <a:extLst>
              <a:ext uri="{FF2B5EF4-FFF2-40B4-BE49-F238E27FC236}">
                <a16:creationId xmlns:a16="http://schemas.microsoft.com/office/drawing/2014/main" id="{373FE5A1-132B-B247-9BF4-ED02DBE7E9C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84887" y="4901296"/>
            <a:ext cx="2879823" cy="1152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 rtl="0">
              <a:defRPr sz="600">
                <a:solidFill>
                  <a:srgbClr val="737373"/>
                </a:solidFill>
              </a:defRPr>
            </a:lvl1pPr>
          </a:lstStyle>
          <a:p>
            <a:r>
              <a:rPr lang="en-US"/>
              <a:t>Go to header/footer to change text 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07740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 Mockup Smartphone">
    <p:bg>
      <p:bgPr>
        <a:solidFill>
          <a:srgbClr val="EBF2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9DDC37E4-105C-7AC2-DC2A-B0261A1347A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51318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7" imgH="277" progId="TCLayout.ActiveDocument.1">
                  <p:embed/>
                </p:oleObj>
              </mc:Choice>
              <mc:Fallback>
                <p:oleObj name="think-cell Folie" r:id="rId3" imgW="277" imgH="277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9DDC37E4-105C-7AC2-DC2A-B0261A1347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Bildobjekt 7">
            <a:extLst>
              <a:ext uri="{FF2B5EF4-FFF2-40B4-BE49-F238E27FC236}">
                <a16:creationId xmlns:a16="http://schemas.microsoft.com/office/drawing/2014/main" id="{AC0D2C48-88CA-574C-8132-13D620BE017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623266" y="226723"/>
            <a:ext cx="2355145" cy="4509853"/>
          </a:xfrm>
          <a:prstGeom prst="rect">
            <a:avLst/>
          </a:prstGeom>
        </p:spPr>
      </p:pic>
      <p:sp>
        <p:nvSpPr>
          <p:cNvPr id="9" name="Platshållare för bild 15">
            <a:extLst>
              <a:ext uri="{FF2B5EF4-FFF2-40B4-BE49-F238E27FC236}">
                <a16:creationId xmlns:a16="http://schemas.microsoft.com/office/drawing/2014/main" id="{10E8AA89-7C88-3143-8124-1E0503C4208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5809917" y="467223"/>
            <a:ext cx="1954613" cy="4070156"/>
          </a:xfrm>
          <a:prstGeom prst="roundRect">
            <a:avLst>
              <a:gd name="adj" fmla="val 10210"/>
            </a:avLst>
          </a:prstGeom>
          <a:blipFill dpi="0" rotWithShape="1">
            <a:blip r:embed="rId6"/>
            <a:srcRect/>
            <a:tile tx="0" ty="0" sx="100000" sy="100000" flip="none" algn="tl"/>
          </a:blipFill>
        </p:spPr>
        <p:txBody>
          <a:bodyPr/>
          <a:lstStyle>
            <a:lvl1pPr marL="4763" indent="-4763" algn="ctr" rtl="0">
              <a:buFont typeface="Arial" panose="020B0604020202020204" pitchFamily="34" charset="0"/>
              <a:buNone/>
              <a:tabLst/>
              <a:defRPr sz="800"/>
            </a:lvl1pPr>
          </a:lstStyle>
          <a:p>
            <a:r>
              <a:rPr lang="en-US" noProof="0"/>
              <a:t>Click on the icon to add screenshot</a:t>
            </a:r>
          </a:p>
        </p:txBody>
      </p:sp>
      <p:sp>
        <p:nvSpPr>
          <p:cNvPr id="6" name="Rubrik 5">
            <a:extLst>
              <a:ext uri="{FF2B5EF4-FFF2-40B4-BE49-F238E27FC236}">
                <a16:creationId xmlns:a16="http://schemas.microsoft.com/office/drawing/2014/main" id="{4F9BFEED-0E03-904F-9847-3F79E60C95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850" y="525600"/>
            <a:ext cx="4176713" cy="1498314"/>
          </a:xfrm>
        </p:spPr>
        <p:txBody>
          <a:bodyPr vert="horz" rIns="144000"/>
          <a:lstStyle>
            <a:lvl1pPr rtl="0">
              <a:defRPr sz="3000" spc="-70" baseline="0"/>
            </a:lvl1pPr>
          </a:lstStyle>
          <a:p>
            <a:r>
              <a:rPr lang="en-US" noProof="0"/>
              <a:t>Click to add a headline of maximum three lines</a:t>
            </a:r>
          </a:p>
        </p:txBody>
      </p:sp>
      <p:sp>
        <p:nvSpPr>
          <p:cNvPr id="12" name="Platshållare för text 11">
            <a:extLst>
              <a:ext uri="{FF2B5EF4-FFF2-40B4-BE49-F238E27FC236}">
                <a16:creationId xmlns:a16="http://schemas.microsoft.com/office/drawing/2014/main" id="{D84E0A46-5973-4E46-9096-4F1FFEB637F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3851" y="2103438"/>
            <a:ext cx="4176712" cy="2592387"/>
          </a:xfrm>
        </p:spPr>
        <p:txBody>
          <a:bodyPr rIns="144000"/>
          <a:lstStyle>
            <a:lvl1pPr rtl="0">
              <a:defRPr sz="1400"/>
            </a:lvl1pPr>
            <a:lvl2pPr rtl="0">
              <a:defRPr sz="1200"/>
            </a:lvl2pPr>
            <a:lvl3pPr rtl="0">
              <a:defRPr sz="1200"/>
            </a:lvl3pPr>
            <a:lvl4pPr rtl="0">
              <a:defRPr sz="1200"/>
            </a:lvl4pPr>
            <a:lvl5pPr rtl="0">
              <a:defRPr sz="1200"/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Platshållare för text 15">
            <a:extLst>
              <a:ext uri="{FF2B5EF4-FFF2-40B4-BE49-F238E27FC236}">
                <a16:creationId xmlns:a16="http://schemas.microsoft.com/office/drawing/2014/main" id="{CF7D2E26-08D8-5949-87B2-516D214C08A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3849" y="276226"/>
            <a:ext cx="4176077" cy="276999"/>
          </a:xfrm>
        </p:spPr>
        <p:txBody>
          <a:bodyPr lIns="111600" rIns="144000" anchor="t"/>
          <a:lstStyle>
            <a:lvl1pPr marL="3175" indent="-3175" rtl="0">
              <a:buNone/>
              <a:tabLst/>
              <a:defRPr sz="12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add navigation/subheader</a:t>
            </a:r>
          </a:p>
        </p:txBody>
      </p:sp>
      <p:sp>
        <p:nvSpPr>
          <p:cNvPr id="35" name="Date Placeholder 3">
            <a:extLst>
              <a:ext uri="{FF2B5EF4-FFF2-40B4-BE49-F238E27FC236}">
                <a16:creationId xmlns:a16="http://schemas.microsoft.com/office/drawing/2014/main" id="{FED9A850-451C-994B-9CEF-A2B324B2852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287" y="4901296"/>
            <a:ext cx="2948826" cy="1152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 rtl="0">
              <a:defRPr sz="600" b="0">
                <a:solidFill>
                  <a:srgbClr val="737373"/>
                </a:solidFill>
              </a:defRPr>
            </a:lvl1pPr>
          </a:lstStyle>
          <a:p>
            <a:fld id="{BEA95E86-CDE1-42DA-8C23-83FDBE6D5053}" type="datetime1">
              <a:rPr lang="en-US" smtClean="0"/>
              <a:pPr/>
              <a:t>8/29/2025</a:t>
            </a:fld>
            <a:endParaRPr lang="en-US"/>
          </a:p>
        </p:txBody>
      </p:sp>
      <p:sp>
        <p:nvSpPr>
          <p:cNvPr id="36" name="Slide Number Placeholder 5">
            <a:extLst>
              <a:ext uri="{FF2B5EF4-FFF2-40B4-BE49-F238E27FC236}">
                <a16:creationId xmlns:a16="http://schemas.microsoft.com/office/drawing/2014/main" id="{3D6301AA-5E2B-7F46-BF55-64A8320A6B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40418" y="5003474"/>
            <a:ext cx="324294" cy="8245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 rtl="0">
              <a:defRPr sz="600" b="0">
                <a:solidFill>
                  <a:srgbClr val="737373"/>
                </a:solidFill>
              </a:defRPr>
            </a:lvl1pPr>
          </a:lstStyle>
          <a:p>
            <a:fld id="{17CD396C-6A52-4D5A-BAE3-92A1CC3BBDE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Platshållare för sidfot 6">
            <a:extLst>
              <a:ext uri="{FF2B5EF4-FFF2-40B4-BE49-F238E27FC236}">
                <a16:creationId xmlns:a16="http://schemas.microsoft.com/office/drawing/2014/main" id="{DC643E75-61AD-CE44-8B9B-514A1A088DD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84887" y="4901296"/>
            <a:ext cx="2879823" cy="1152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 rtl="0">
              <a:defRPr sz="600">
                <a:solidFill>
                  <a:srgbClr val="737373"/>
                </a:solidFill>
              </a:defRPr>
            </a:lvl1pPr>
          </a:lstStyle>
          <a:p>
            <a:r>
              <a:rPr lang="en-US"/>
              <a:t>Go to header/footer to change text 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859051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 Mockup Tablet">
    <p:bg>
      <p:bgPr>
        <a:solidFill>
          <a:srgbClr val="EBF2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5E29E074-A6DD-6FD2-C0EC-402652BC8B3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938040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7" imgH="277" progId="TCLayout.ActiveDocument.1">
                  <p:embed/>
                </p:oleObj>
              </mc:Choice>
              <mc:Fallback>
                <p:oleObj name="think-cell Folie" r:id="rId3" imgW="277" imgH="277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5E29E074-A6DD-6FD2-C0EC-402652BC8B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Bildobjekt 9">
            <a:extLst>
              <a:ext uri="{FF2B5EF4-FFF2-40B4-BE49-F238E27FC236}">
                <a16:creationId xmlns:a16="http://schemas.microsoft.com/office/drawing/2014/main" id="{AF73F0F7-6D96-1749-82B9-04BEF52611B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01530" y="278390"/>
            <a:ext cx="3395857" cy="4433234"/>
          </a:xfrm>
          <a:prstGeom prst="rect">
            <a:avLst/>
          </a:prstGeom>
        </p:spPr>
      </p:pic>
      <p:sp>
        <p:nvSpPr>
          <p:cNvPr id="11" name="Platshållare för bild 15">
            <a:extLst>
              <a:ext uri="{FF2B5EF4-FFF2-40B4-BE49-F238E27FC236}">
                <a16:creationId xmlns:a16="http://schemas.microsoft.com/office/drawing/2014/main" id="{6F11483D-338A-6C45-BE0B-6154483356E5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>
          <a:xfrm>
            <a:off x="5284519" y="479695"/>
            <a:ext cx="3043682" cy="4048762"/>
          </a:xfrm>
          <a:prstGeom prst="roundRect">
            <a:avLst>
              <a:gd name="adj" fmla="val 3275"/>
            </a:avLst>
          </a:prstGeom>
          <a:blipFill>
            <a:blip r:embed="rId6"/>
            <a:tile tx="0" ty="0" sx="100000" sy="100000" flip="none" algn="tl"/>
          </a:blipFill>
        </p:spPr>
        <p:txBody>
          <a:bodyPr tIns="72000"/>
          <a:lstStyle>
            <a:lvl1pPr marL="4763" indent="-4763" algn="ctr" rtl="0">
              <a:buFont typeface="Arial" panose="020B0604020202020204" pitchFamily="34" charset="0"/>
              <a:buNone/>
              <a:tabLst/>
              <a:defRPr sz="800"/>
            </a:lvl1pPr>
          </a:lstStyle>
          <a:p>
            <a:r>
              <a:rPr lang="en-US" noProof="0"/>
              <a:t>Click on the icon to add screenshot or image</a:t>
            </a:r>
          </a:p>
        </p:txBody>
      </p:sp>
      <p:sp>
        <p:nvSpPr>
          <p:cNvPr id="9" name="Rubrik 5">
            <a:extLst>
              <a:ext uri="{FF2B5EF4-FFF2-40B4-BE49-F238E27FC236}">
                <a16:creationId xmlns:a16="http://schemas.microsoft.com/office/drawing/2014/main" id="{71D01A38-7EA0-9741-A480-491359BD40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850" y="525600"/>
            <a:ext cx="4176713" cy="1498314"/>
          </a:xfrm>
        </p:spPr>
        <p:txBody>
          <a:bodyPr vert="horz" rIns="144000"/>
          <a:lstStyle>
            <a:lvl1pPr rtl="0">
              <a:defRPr sz="3000" spc="-70" baseline="0"/>
            </a:lvl1pPr>
          </a:lstStyle>
          <a:p>
            <a:r>
              <a:rPr lang="en-US" noProof="0"/>
              <a:t>Click to add a headline of maximum three lines</a:t>
            </a:r>
          </a:p>
        </p:txBody>
      </p:sp>
      <p:sp>
        <p:nvSpPr>
          <p:cNvPr id="12" name="Platshållare för text 11">
            <a:extLst>
              <a:ext uri="{FF2B5EF4-FFF2-40B4-BE49-F238E27FC236}">
                <a16:creationId xmlns:a16="http://schemas.microsoft.com/office/drawing/2014/main" id="{43795203-DBC8-FC4C-AF8A-DF750A2789A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3851" y="2103438"/>
            <a:ext cx="4176712" cy="2592387"/>
          </a:xfrm>
        </p:spPr>
        <p:txBody>
          <a:bodyPr rIns="144000"/>
          <a:lstStyle>
            <a:lvl1pPr rtl="0">
              <a:defRPr sz="1400"/>
            </a:lvl1pPr>
            <a:lvl2pPr rtl="0">
              <a:defRPr sz="1200"/>
            </a:lvl2pPr>
            <a:lvl3pPr rtl="0">
              <a:defRPr sz="1200"/>
            </a:lvl3pPr>
            <a:lvl4pPr rtl="0">
              <a:defRPr sz="1200"/>
            </a:lvl4pPr>
            <a:lvl5pPr rtl="0">
              <a:defRPr sz="1200"/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Platshållare för text 15">
            <a:extLst>
              <a:ext uri="{FF2B5EF4-FFF2-40B4-BE49-F238E27FC236}">
                <a16:creationId xmlns:a16="http://schemas.microsoft.com/office/drawing/2014/main" id="{2493BE16-B666-1E43-A384-DA7DE8218D8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3849" y="276226"/>
            <a:ext cx="4176077" cy="276999"/>
          </a:xfrm>
        </p:spPr>
        <p:txBody>
          <a:bodyPr lIns="111600" rIns="144000" anchor="t"/>
          <a:lstStyle>
            <a:lvl1pPr marL="3175" indent="-3175" rtl="0">
              <a:buNone/>
              <a:tabLst/>
              <a:defRPr sz="12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add navigation/subheader</a:t>
            </a:r>
          </a:p>
        </p:txBody>
      </p:sp>
      <p:sp>
        <p:nvSpPr>
          <p:cNvPr id="32" name="Date Placeholder 3">
            <a:extLst>
              <a:ext uri="{FF2B5EF4-FFF2-40B4-BE49-F238E27FC236}">
                <a16:creationId xmlns:a16="http://schemas.microsoft.com/office/drawing/2014/main" id="{DF0D76B5-70ED-1348-8C16-2BDFEAE1A30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287" y="4901296"/>
            <a:ext cx="2948826" cy="1152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 rtl="0">
              <a:defRPr sz="600" b="0">
                <a:solidFill>
                  <a:srgbClr val="737373"/>
                </a:solidFill>
              </a:defRPr>
            </a:lvl1pPr>
          </a:lstStyle>
          <a:p>
            <a:fld id="{FCAD4D9B-B58F-4E25-BB6B-78C0A2E75934}" type="datetime1">
              <a:rPr lang="en-US" smtClean="0"/>
              <a:pPr/>
              <a:t>8/29/2025</a:t>
            </a:fld>
            <a:endParaRPr lang="en-US"/>
          </a:p>
        </p:txBody>
      </p:sp>
      <p:sp>
        <p:nvSpPr>
          <p:cNvPr id="33" name="Slide Number Placeholder 5">
            <a:extLst>
              <a:ext uri="{FF2B5EF4-FFF2-40B4-BE49-F238E27FC236}">
                <a16:creationId xmlns:a16="http://schemas.microsoft.com/office/drawing/2014/main" id="{988F092B-A42E-1446-B7CB-74A043F2D8E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40418" y="5003474"/>
            <a:ext cx="324294" cy="8245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 rtl="0">
              <a:defRPr sz="600" b="0">
                <a:solidFill>
                  <a:srgbClr val="737373"/>
                </a:solidFill>
              </a:defRPr>
            </a:lvl1pPr>
          </a:lstStyle>
          <a:p>
            <a:fld id="{17CD396C-6A52-4D5A-BAE3-92A1CC3BBDE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Platshållare för sidfot 6">
            <a:extLst>
              <a:ext uri="{FF2B5EF4-FFF2-40B4-BE49-F238E27FC236}">
                <a16:creationId xmlns:a16="http://schemas.microsoft.com/office/drawing/2014/main" id="{E7CD3979-AE70-E348-8121-A449C6EA75C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84887" y="4901296"/>
            <a:ext cx="2879823" cy="1152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 rtl="0">
              <a:defRPr sz="600">
                <a:solidFill>
                  <a:srgbClr val="737373"/>
                </a:solidFill>
              </a:defRPr>
            </a:lvl1pPr>
          </a:lstStyle>
          <a:p>
            <a:r>
              <a:rPr lang="en-US"/>
              <a:t>Go to header/footer to change text 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33693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 Mockup Computer">
    <p:bg>
      <p:bgPr>
        <a:solidFill>
          <a:srgbClr val="EBF2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57E93138-B51A-1CB6-3209-4B2403B490B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411176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7" imgH="277" progId="TCLayout.ActiveDocument.1">
                  <p:embed/>
                </p:oleObj>
              </mc:Choice>
              <mc:Fallback>
                <p:oleObj name="think-cell Folie" r:id="rId3" imgW="277" imgH="277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57E93138-B51A-1CB6-3209-4B2403B490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Bildobjekt 8">
            <a:extLst>
              <a:ext uri="{FF2B5EF4-FFF2-40B4-BE49-F238E27FC236}">
                <a16:creationId xmlns:a16="http://schemas.microsoft.com/office/drawing/2014/main" id="{137F2073-042D-6544-88ED-5E6D429D6B0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53800" y="379902"/>
            <a:ext cx="5398300" cy="4344385"/>
          </a:xfrm>
          <a:prstGeom prst="rect">
            <a:avLst/>
          </a:prstGeom>
        </p:spPr>
      </p:pic>
      <p:sp>
        <p:nvSpPr>
          <p:cNvPr id="12" name="Platshållare för bild 15">
            <a:extLst>
              <a:ext uri="{FF2B5EF4-FFF2-40B4-BE49-F238E27FC236}">
                <a16:creationId xmlns:a16="http://schemas.microsoft.com/office/drawing/2014/main" id="{050DA14F-0160-BC46-A9E4-34119508B77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069377" y="600403"/>
            <a:ext cx="4975948" cy="2815483"/>
          </a:xfrm>
          <a:prstGeom prst="rect">
            <a:avLst/>
          </a:prstGeom>
          <a:blipFill>
            <a:blip r:embed="rId6"/>
            <a:tile tx="0" ty="0" sx="100000" sy="100000" flip="none" algn="tl"/>
          </a:blipFill>
        </p:spPr>
        <p:txBody>
          <a:bodyPr tIns="72000"/>
          <a:lstStyle>
            <a:lvl1pPr marL="4763" indent="-4763" algn="ctr" rtl="0">
              <a:buFont typeface="Arial" panose="020B0604020202020204" pitchFamily="34" charset="0"/>
              <a:buNone/>
              <a:tabLst/>
              <a:defRPr sz="800"/>
            </a:lvl1pPr>
          </a:lstStyle>
          <a:p>
            <a:r>
              <a:rPr lang="en-US" noProof="0"/>
              <a:t>Click on the icon to add screenshot or image</a:t>
            </a:r>
          </a:p>
        </p:txBody>
      </p:sp>
      <p:sp>
        <p:nvSpPr>
          <p:cNvPr id="28" name="Date Placeholder 3">
            <a:extLst>
              <a:ext uri="{FF2B5EF4-FFF2-40B4-BE49-F238E27FC236}">
                <a16:creationId xmlns:a16="http://schemas.microsoft.com/office/drawing/2014/main" id="{CE0F962E-4019-5544-9B35-C562B9C61B7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287" y="4901296"/>
            <a:ext cx="2948826" cy="1152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 rtl="0">
              <a:defRPr sz="600" b="0">
                <a:solidFill>
                  <a:srgbClr val="737373"/>
                </a:solidFill>
              </a:defRPr>
            </a:lvl1pPr>
          </a:lstStyle>
          <a:p>
            <a:fld id="{41769D5B-7219-4052-893C-3663ACC7925C}" type="datetime1">
              <a:rPr lang="en-US" smtClean="0"/>
              <a:pPr/>
              <a:t>8/29/2025</a:t>
            </a:fld>
            <a:endParaRPr lang="en-US"/>
          </a:p>
        </p:txBody>
      </p:sp>
      <p:sp>
        <p:nvSpPr>
          <p:cNvPr id="29" name="Slide Number Placeholder 5">
            <a:extLst>
              <a:ext uri="{FF2B5EF4-FFF2-40B4-BE49-F238E27FC236}">
                <a16:creationId xmlns:a16="http://schemas.microsoft.com/office/drawing/2014/main" id="{BAB857CC-B70E-E249-8AC6-5136D617525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40418" y="5003474"/>
            <a:ext cx="324294" cy="8245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 rtl="0">
              <a:defRPr sz="600" b="0">
                <a:solidFill>
                  <a:srgbClr val="737373"/>
                </a:solidFill>
              </a:defRPr>
            </a:lvl1pPr>
          </a:lstStyle>
          <a:p>
            <a:fld id="{17CD396C-6A52-4D5A-BAE3-92A1CC3BBDE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Platshållare för sidfot 6">
            <a:extLst>
              <a:ext uri="{FF2B5EF4-FFF2-40B4-BE49-F238E27FC236}">
                <a16:creationId xmlns:a16="http://schemas.microsoft.com/office/drawing/2014/main" id="{654484ED-3028-044E-B530-A3D199365A2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84887" y="4901296"/>
            <a:ext cx="2879823" cy="1152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 rtl="0">
              <a:defRPr sz="600">
                <a:solidFill>
                  <a:srgbClr val="737373"/>
                </a:solidFill>
              </a:defRPr>
            </a:lvl1pPr>
          </a:lstStyle>
          <a:p>
            <a:r>
              <a:rPr lang="en-US"/>
              <a:t>Go to header/footer to change text 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33179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dified 2 (grey background)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5BA5F260-EBFF-98E9-BFFA-232FFD30629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04851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7" imgH="277" progId="TCLayout.ActiveDocument.1">
                  <p:embed/>
                </p:oleObj>
              </mc:Choice>
              <mc:Fallback>
                <p:oleObj name="think-cell Folie" r:id="rId3" imgW="277" imgH="277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5BA5F260-EBFF-98E9-BFFA-232FFD3062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C57FF860-80C4-F544-9349-277B28F447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86253372-141E-43B3-A71B-976ECABB6029}" type="datetime1">
              <a:rPr lang="en-US" smtClean="0"/>
              <a:pPr/>
              <a:t>8/29/2025</a:t>
            </a:fld>
            <a:endParaRPr lang="en-US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61938E86-6CF5-9C42-AB2F-96E9B547A11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17CD396C-6A52-4D5A-BAE3-92A1CC3BBDE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Platshållare för text 15">
            <a:extLst>
              <a:ext uri="{FF2B5EF4-FFF2-40B4-BE49-F238E27FC236}">
                <a16:creationId xmlns:a16="http://schemas.microsoft.com/office/drawing/2014/main" id="{03424855-B277-8744-9C85-9975925B820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3849" y="276226"/>
            <a:ext cx="5616575" cy="276999"/>
          </a:xfrm>
        </p:spPr>
        <p:txBody>
          <a:bodyPr lIns="111600" rIns="216000" anchor="t"/>
          <a:lstStyle>
            <a:lvl1pPr marL="3175" indent="-3175" rtl="0">
              <a:buNone/>
              <a:tabLst/>
              <a:defRPr sz="12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add navigation/subheader</a:t>
            </a:r>
          </a:p>
        </p:txBody>
      </p:sp>
      <p:sp>
        <p:nvSpPr>
          <p:cNvPr id="19" name="Platshållare för text 18">
            <a:extLst>
              <a:ext uri="{FF2B5EF4-FFF2-40B4-BE49-F238E27FC236}">
                <a16:creationId xmlns:a16="http://schemas.microsoft.com/office/drawing/2014/main" id="{4615DFA7-0616-B744-975C-88C9447A199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3848" y="4611600"/>
            <a:ext cx="5414400" cy="142886"/>
          </a:xfrm>
        </p:spPr>
        <p:txBody>
          <a:bodyPr lIns="111600" tIns="0" bIns="0" anchor="ctr"/>
          <a:lstStyle>
            <a:lvl1pPr rtl="0">
              <a:buNone/>
              <a:defRPr sz="600"/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/>
            <a:r>
              <a:rPr lang="en-US" noProof="0"/>
              <a:t>*Click to add footnotes</a:t>
            </a:r>
          </a:p>
        </p:txBody>
      </p:sp>
      <p:sp>
        <p:nvSpPr>
          <p:cNvPr id="16" name="Rubrik 1">
            <a:extLst>
              <a:ext uri="{FF2B5EF4-FFF2-40B4-BE49-F238E27FC236}">
                <a16:creationId xmlns:a16="http://schemas.microsoft.com/office/drawing/2014/main" id="{29C1BAB5-302C-E24B-AF46-F5810100CE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850" y="545326"/>
            <a:ext cx="8496299" cy="741454"/>
          </a:xfrm>
        </p:spPr>
        <p:txBody>
          <a:bodyPr vert="horz" rIns="216000"/>
          <a:lstStyle>
            <a:lvl1pPr rtl="0">
              <a:defRPr spc="-50" baseline="0"/>
            </a:lvl1pPr>
          </a:lstStyle>
          <a:p>
            <a:r>
              <a:rPr lang="en-US" noProof="0"/>
              <a:t>Click to add a headline of maximum two lines</a:t>
            </a:r>
          </a:p>
        </p:txBody>
      </p:sp>
      <p:sp>
        <p:nvSpPr>
          <p:cNvPr id="21" name="Platshållare för text 16">
            <a:extLst>
              <a:ext uri="{FF2B5EF4-FFF2-40B4-BE49-F238E27FC236}">
                <a16:creationId xmlns:a16="http://schemas.microsoft.com/office/drawing/2014/main" id="{57967130-C256-E443-BF6D-9CFC31CE5F7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3850" y="1360488"/>
            <a:ext cx="8496300" cy="307568"/>
          </a:xfrm>
        </p:spPr>
        <p:txBody>
          <a:bodyPr lIns="97200" rIns="216000"/>
          <a:lstStyle>
            <a:lvl1pPr marL="0" indent="0" algn="l" rtl="0">
              <a:lnSpc>
                <a:spcPct val="95000"/>
              </a:lnSpc>
              <a:spcBef>
                <a:spcPts val="0"/>
              </a:spcBef>
              <a:buNone/>
              <a:tabLst/>
              <a:defRPr sz="1600" b="1" spc="0" baseline="0"/>
            </a:lvl1pPr>
            <a:lvl2pPr marL="14288" indent="0" algn="ctr">
              <a:tabLst/>
              <a:defRPr/>
            </a:lvl2pPr>
            <a:lvl3pPr marL="14288" indent="0" algn="ctr">
              <a:tabLst/>
              <a:defRPr/>
            </a:lvl3pPr>
            <a:lvl4pPr marL="14288" indent="0" algn="ctr">
              <a:tabLst/>
              <a:defRPr/>
            </a:lvl4pPr>
            <a:lvl5pPr marL="14288" indent="0" algn="ctr">
              <a:tabLst/>
              <a:defRPr/>
            </a:lvl5pPr>
          </a:lstStyle>
          <a:p>
            <a:pPr lvl="0"/>
            <a:r>
              <a:rPr lang="en-US" noProof="0"/>
              <a:t>Click to add subheader</a:t>
            </a:r>
          </a:p>
        </p:txBody>
      </p:sp>
      <p:sp>
        <p:nvSpPr>
          <p:cNvPr id="11" name="Platshållare för sidfot 6">
            <a:extLst>
              <a:ext uri="{FF2B5EF4-FFF2-40B4-BE49-F238E27FC236}">
                <a16:creationId xmlns:a16="http://schemas.microsoft.com/office/drawing/2014/main" id="{4E4579F6-66FC-3140-A0B3-75F166B051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84887" y="4901296"/>
            <a:ext cx="2879823" cy="1152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 rtl="0">
              <a:defRPr sz="600">
                <a:solidFill>
                  <a:srgbClr val="737373"/>
                </a:solidFill>
              </a:defRPr>
            </a:lvl1pPr>
          </a:lstStyle>
          <a:p>
            <a:r>
              <a:rPr lang="en-US"/>
              <a:t>Go to header/footer to change text 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044983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dified 2 (white background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4A6D58DA-E611-CB2A-8D3F-04222F319A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09095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7" imgH="277" progId="TCLayout.ActiveDocument.1">
                  <p:embed/>
                </p:oleObj>
              </mc:Choice>
              <mc:Fallback>
                <p:oleObj name="think-cell Folie" r:id="rId3" imgW="277" imgH="277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4A6D58DA-E611-CB2A-8D3F-04222F319A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C57FF860-80C4-F544-9349-277B28F447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B5E9F72B-1B6D-42FE-A541-9E4F9F0D49C4}" type="datetime1">
              <a:rPr lang="en-US" smtClean="0"/>
              <a:pPr/>
              <a:t>8/29/2025</a:t>
            </a:fld>
            <a:endParaRPr lang="en-US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61938E86-6CF5-9C42-AB2F-96E9B547A11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17CD396C-6A52-4D5A-BAE3-92A1CC3BBDE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Platshållare för text 15">
            <a:extLst>
              <a:ext uri="{FF2B5EF4-FFF2-40B4-BE49-F238E27FC236}">
                <a16:creationId xmlns:a16="http://schemas.microsoft.com/office/drawing/2014/main" id="{03424855-B277-8744-9C85-9975925B820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3849" y="276226"/>
            <a:ext cx="5616575" cy="276999"/>
          </a:xfrm>
        </p:spPr>
        <p:txBody>
          <a:bodyPr lIns="111600" rIns="216000" anchor="t"/>
          <a:lstStyle>
            <a:lvl1pPr marL="3175" indent="-3175" rtl="0">
              <a:buNone/>
              <a:tabLst/>
              <a:defRPr sz="12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add navigation/subheader</a:t>
            </a:r>
          </a:p>
        </p:txBody>
      </p:sp>
      <p:sp>
        <p:nvSpPr>
          <p:cNvPr id="19" name="Platshållare för text 18">
            <a:extLst>
              <a:ext uri="{FF2B5EF4-FFF2-40B4-BE49-F238E27FC236}">
                <a16:creationId xmlns:a16="http://schemas.microsoft.com/office/drawing/2014/main" id="{4615DFA7-0616-B744-975C-88C9447A199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3848" y="4611600"/>
            <a:ext cx="5414400" cy="142886"/>
          </a:xfrm>
        </p:spPr>
        <p:txBody>
          <a:bodyPr lIns="111600" tIns="0" bIns="0" anchor="ctr"/>
          <a:lstStyle>
            <a:lvl1pPr rtl="0">
              <a:buNone/>
              <a:defRPr sz="600"/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/>
            <a:r>
              <a:rPr lang="en-US" noProof="0"/>
              <a:t>*Click to add footnotes</a:t>
            </a:r>
          </a:p>
        </p:txBody>
      </p:sp>
      <p:sp>
        <p:nvSpPr>
          <p:cNvPr id="16" name="Rubrik 1">
            <a:extLst>
              <a:ext uri="{FF2B5EF4-FFF2-40B4-BE49-F238E27FC236}">
                <a16:creationId xmlns:a16="http://schemas.microsoft.com/office/drawing/2014/main" id="{29C1BAB5-302C-E24B-AF46-F5810100CE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850" y="545326"/>
            <a:ext cx="8496299" cy="741454"/>
          </a:xfrm>
        </p:spPr>
        <p:txBody>
          <a:bodyPr vert="horz" rIns="216000"/>
          <a:lstStyle>
            <a:lvl1pPr rtl="0">
              <a:defRPr spc="-50" baseline="0"/>
            </a:lvl1pPr>
          </a:lstStyle>
          <a:p>
            <a:r>
              <a:rPr lang="en-US" noProof="0"/>
              <a:t>Click to add a headline of maximum two lines</a:t>
            </a:r>
          </a:p>
        </p:txBody>
      </p:sp>
      <p:sp>
        <p:nvSpPr>
          <p:cNvPr id="21" name="Platshållare för text 16">
            <a:extLst>
              <a:ext uri="{FF2B5EF4-FFF2-40B4-BE49-F238E27FC236}">
                <a16:creationId xmlns:a16="http://schemas.microsoft.com/office/drawing/2014/main" id="{57967130-C256-E443-BF6D-9CFC31CE5F7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3850" y="1360488"/>
            <a:ext cx="8496300" cy="307568"/>
          </a:xfrm>
        </p:spPr>
        <p:txBody>
          <a:bodyPr lIns="97200" rIns="216000"/>
          <a:lstStyle>
            <a:lvl1pPr marL="0" indent="0" algn="l" rtl="0">
              <a:lnSpc>
                <a:spcPct val="95000"/>
              </a:lnSpc>
              <a:spcBef>
                <a:spcPts val="0"/>
              </a:spcBef>
              <a:buNone/>
              <a:tabLst/>
              <a:defRPr sz="1600" b="1" spc="0" baseline="0"/>
            </a:lvl1pPr>
            <a:lvl2pPr marL="14288" indent="0" algn="ctr">
              <a:tabLst/>
              <a:defRPr/>
            </a:lvl2pPr>
            <a:lvl3pPr marL="14288" indent="0" algn="ctr">
              <a:tabLst/>
              <a:defRPr/>
            </a:lvl3pPr>
            <a:lvl4pPr marL="14288" indent="0" algn="ctr">
              <a:tabLst/>
              <a:defRPr/>
            </a:lvl4pPr>
            <a:lvl5pPr marL="14288" indent="0" algn="ctr">
              <a:tabLst/>
              <a:defRPr/>
            </a:lvl5pPr>
          </a:lstStyle>
          <a:p>
            <a:pPr lvl="0"/>
            <a:r>
              <a:rPr lang="en-US" noProof="0"/>
              <a:t>Click to add subheader</a:t>
            </a:r>
          </a:p>
        </p:txBody>
      </p:sp>
      <p:sp>
        <p:nvSpPr>
          <p:cNvPr id="11" name="Platshållare för sidfot 6">
            <a:extLst>
              <a:ext uri="{FF2B5EF4-FFF2-40B4-BE49-F238E27FC236}">
                <a16:creationId xmlns:a16="http://schemas.microsoft.com/office/drawing/2014/main" id="{4E4579F6-66FC-3140-A0B3-75F166B051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84887" y="4901296"/>
            <a:ext cx="2879823" cy="1152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 rtl="0">
              <a:defRPr sz="600">
                <a:solidFill>
                  <a:srgbClr val="737373"/>
                </a:solidFill>
              </a:defRPr>
            </a:lvl1pPr>
          </a:lstStyle>
          <a:p>
            <a:r>
              <a:rPr lang="en-US"/>
              <a:t>Go to header/footer to change text 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32111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dified 3 (grey background)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BE49A328-FA72-5F1A-19E9-AF5A86846F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90231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7" imgH="277" progId="TCLayout.ActiveDocument.1">
                  <p:embed/>
                </p:oleObj>
              </mc:Choice>
              <mc:Fallback>
                <p:oleObj name="think-cell Folie" r:id="rId3" imgW="277" imgH="277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BE49A328-FA72-5F1A-19E9-AF5A86846F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C57FF860-80C4-F544-9349-277B28F447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5AF46824-5DA0-4CC7-A96A-3ADB8DC0C142}" type="datetime1">
              <a:rPr lang="en-US" smtClean="0"/>
              <a:pPr/>
              <a:t>8/29/2025</a:t>
            </a:fld>
            <a:endParaRPr lang="en-US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61938E86-6CF5-9C42-AB2F-96E9B547A11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17CD396C-6A52-4D5A-BAE3-92A1CC3BBDE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Platshållare för text 15">
            <a:extLst>
              <a:ext uri="{FF2B5EF4-FFF2-40B4-BE49-F238E27FC236}">
                <a16:creationId xmlns:a16="http://schemas.microsoft.com/office/drawing/2014/main" id="{03424855-B277-8744-9C85-9975925B820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3849" y="276226"/>
            <a:ext cx="5616575" cy="276999"/>
          </a:xfrm>
        </p:spPr>
        <p:txBody>
          <a:bodyPr lIns="111600" rIns="216000" anchor="t"/>
          <a:lstStyle>
            <a:lvl1pPr marL="3175" indent="-3175" rtl="0">
              <a:buNone/>
              <a:tabLst/>
              <a:defRPr sz="12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add navigation/subheader</a:t>
            </a:r>
          </a:p>
        </p:txBody>
      </p:sp>
      <p:sp>
        <p:nvSpPr>
          <p:cNvPr id="19" name="Platshållare för text 18">
            <a:extLst>
              <a:ext uri="{FF2B5EF4-FFF2-40B4-BE49-F238E27FC236}">
                <a16:creationId xmlns:a16="http://schemas.microsoft.com/office/drawing/2014/main" id="{4615DFA7-0616-B744-975C-88C9447A199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3848" y="4611600"/>
            <a:ext cx="5414400" cy="142886"/>
          </a:xfrm>
        </p:spPr>
        <p:txBody>
          <a:bodyPr lIns="111600" tIns="0" bIns="0" anchor="ctr"/>
          <a:lstStyle>
            <a:lvl1pPr rtl="0">
              <a:buNone/>
              <a:defRPr sz="600"/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/>
            <a:r>
              <a:rPr lang="en-US" noProof="0"/>
              <a:t>*Click to add footnotes</a:t>
            </a:r>
          </a:p>
        </p:txBody>
      </p:sp>
      <p:sp>
        <p:nvSpPr>
          <p:cNvPr id="16" name="Rubrik 1">
            <a:extLst>
              <a:ext uri="{FF2B5EF4-FFF2-40B4-BE49-F238E27FC236}">
                <a16:creationId xmlns:a16="http://schemas.microsoft.com/office/drawing/2014/main" id="{29C1BAB5-302C-E24B-AF46-F5810100CE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850" y="545326"/>
            <a:ext cx="8496299" cy="741454"/>
          </a:xfrm>
        </p:spPr>
        <p:txBody>
          <a:bodyPr vert="horz" rIns="216000"/>
          <a:lstStyle>
            <a:lvl1pPr rtl="0">
              <a:defRPr spc="-50" baseline="0"/>
            </a:lvl1pPr>
          </a:lstStyle>
          <a:p>
            <a:r>
              <a:rPr lang="en-US" noProof="0"/>
              <a:t>Click to add a headline of maximum two lines</a:t>
            </a:r>
          </a:p>
        </p:txBody>
      </p:sp>
      <p:sp>
        <p:nvSpPr>
          <p:cNvPr id="11" name="Platshållare för sidfot 6">
            <a:extLst>
              <a:ext uri="{FF2B5EF4-FFF2-40B4-BE49-F238E27FC236}">
                <a16:creationId xmlns:a16="http://schemas.microsoft.com/office/drawing/2014/main" id="{4E4579F6-66FC-3140-A0B3-75F166B051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84887" y="4901296"/>
            <a:ext cx="2879823" cy="1152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 rtl="0">
              <a:defRPr sz="600">
                <a:solidFill>
                  <a:srgbClr val="737373"/>
                </a:solidFill>
              </a:defRPr>
            </a:lvl1pPr>
          </a:lstStyle>
          <a:p>
            <a:r>
              <a:rPr lang="en-US"/>
              <a:t>Go to header/footer to change text </a:t>
            </a:r>
          </a:p>
          <a:p>
            <a:endParaRPr lang="en-US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176A2B99-1CF2-D823-A599-AFD2F62BF5A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23850" y="1354347"/>
            <a:ext cx="8496300" cy="325892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Mastertextformat bearbeiten</a:t>
            </a:r>
          </a:p>
          <a:p>
            <a:pPr lvl="1"/>
            <a:r>
              <a:rPr lang="en-US"/>
              <a:t>Zweite Ebene</a:t>
            </a:r>
          </a:p>
          <a:p>
            <a:pPr lvl="2"/>
            <a:r>
              <a:rPr lang="en-US"/>
              <a:t>Dritte Ebene</a:t>
            </a:r>
          </a:p>
          <a:p>
            <a:pPr lvl="3"/>
            <a:r>
              <a:rPr lang="en-US"/>
              <a:t>Vierte Ebene</a:t>
            </a:r>
          </a:p>
          <a:p>
            <a:pPr lvl="4"/>
            <a:r>
              <a:rPr lang="en-US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9366867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dified 3 (white background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8FAC146F-2340-3A5E-FDC8-AD6E99C89C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570573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7" imgH="277" progId="TCLayout.ActiveDocument.1">
                  <p:embed/>
                </p:oleObj>
              </mc:Choice>
              <mc:Fallback>
                <p:oleObj name="think-cell Folie" r:id="rId3" imgW="277" imgH="277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8FAC146F-2340-3A5E-FDC8-AD6E99C89C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C57FF860-80C4-F544-9349-277B28F447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36EB1EB3-2BD2-4056-9C71-60A2B8212081}" type="datetime1">
              <a:rPr lang="en-US" smtClean="0"/>
              <a:pPr/>
              <a:t>8/29/2025</a:t>
            </a:fld>
            <a:endParaRPr lang="en-US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61938E86-6CF5-9C42-AB2F-96E9B547A11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17CD396C-6A52-4D5A-BAE3-92A1CC3BBDE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Platshållare för text 15">
            <a:extLst>
              <a:ext uri="{FF2B5EF4-FFF2-40B4-BE49-F238E27FC236}">
                <a16:creationId xmlns:a16="http://schemas.microsoft.com/office/drawing/2014/main" id="{03424855-B277-8744-9C85-9975925B820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3849" y="276226"/>
            <a:ext cx="5616575" cy="276999"/>
          </a:xfrm>
        </p:spPr>
        <p:txBody>
          <a:bodyPr lIns="111600" rIns="216000" anchor="t"/>
          <a:lstStyle>
            <a:lvl1pPr marL="3175" indent="-3175" rtl="0">
              <a:buNone/>
              <a:tabLst/>
              <a:defRPr sz="12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add navigation/subheader</a:t>
            </a:r>
          </a:p>
        </p:txBody>
      </p:sp>
      <p:sp>
        <p:nvSpPr>
          <p:cNvPr id="19" name="Platshållare för text 18">
            <a:extLst>
              <a:ext uri="{FF2B5EF4-FFF2-40B4-BE49-F238E27FC236}">
                <a16:creationId xmlns:a16="http://schemas.microsoft.com/office/drawing/2014/main" id="{4615DFA7-0616-B744-975C-88C9447A199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3848" y="4611600"/>
            <a:ext cx="5414400" cy="142886"/>
          </a:xfrm>
        </p:spPr>
        <p:txBody>
          <a:bodyPr lIns="111600" tIns="0" bIns="0" anchor="ctr"/>
          <a:lstStyle>
            <a:lvl1pPr rtl="0">
              <a:buNone/>
              <a:defRPr sz="600"/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/>
            <a:r>
              <a:rPr lang="en-US" noProof="0"/>
              <a:t>*Click to add footnotes</a:t>
            </a:r>
          </a:p>
        </p:txBody>
      </p:sp>
      <p:sp>
        <p:nvSpPr>
          <p:cNvPr id="16" name="Rubrik 1">
            <a:extLst>
              <a:ext uri="{FF2B5EF4-FFF2-40B4-BE49-F238E27FC236}">
                <a16:creationId xmlns:a16="http://schemas.microsoft.com/office/drawing/2014/main" id="{29C1BAB5-302C-E24B-AF46-F5810100CE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850" y="545326"/>
            <a:ext cx="8496299" cy="741454"/>
          </a:xfrm>
        </p:spPr>
        <p:txBody>
          <a:bodyPr vert="horz" rIns="216000"/>
          <a:lstStyle>
            <a:lvl1pPr rtl="0">
              <a:defRPr spc="-50" baseline="0"/>
            </a:lvl1pPr>
          </a:lstStyle>
          <a:p>
            <a:r>
              <a:rPr lang="en-US" noProof="0"/>
              <a:t>Click to add a headline of maximum two lines</a:t>
            </a:r>
          </a:p>
        </p:txBody>
      </p:sp>
      <p:sp>
        <p:nvSpPr>
          <p:cNvPr id="11" name="Platshållare för sidfot 6">
            <a:extLst>
              <a:ext uri="{FF2B5EF4-FFF2-40B4-BE49-F238E27FC236}">
                <a16:creationId xmlns:a16="http://schemas.microsoft.com/office/drawing/2014/main" id="{4E4579F6-66FC-3140-A0B3-75F166B051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84887" y="4901296"/>
            <a:ext cx="2879823" cy="1152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 rtl="0">
              <a:defRPr sz="600">
                <a:solidFill>
                  <a:srgbClr val="737373"/>
                </a:solidFill>
              </a:defRPr>
            </a:lvl1pPr>
          </a:lstStyle>
          <a:p>
            <a:r>
              <a:rPr lang="en-US"/>
              <a:t>Go to header/footer to change text </a:t>
            </a:r>
          </a:p>
          <a:p>
            <a:endParaRPr lang="en-US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176A2B99-1CF2-D823-A599-AFD2F62BF5A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23850" y="1353600"/>
            <a:ext cx="8496300" cy="3250301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Mastertextformat bearbeiten</a:t>
            </a:r>
          </a:p>
          <a:p>
            <a:pPr lvl="1"/>
            <a:r>
              <a:rPr lang="en-US"/>
              <a:t>Zweite Ebene</a:t>
            </a:r>
          </a:p>
          <a:p>
            <a:pPr lvl="2"/>
            <a:r>
              <a:rPr lang="en-US"/>
              <a:t>Dritte Ebene</a:t>
            </a:r>
          </a:p>
          <a:p>
            <a:pPr lvl="3"/>
            <a:r>
              <a:rPr lang="en-US"/>
              <a:t>Vierte Ebene</a:t>
            </a:r>
          </a:p>
          <a:p>
            <a:pPr lvl="4"/>
            <a:r>
              <a:rPr lang="en-US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8073934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Simple Bullets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48716754-09C1-3542-8FB3-047B877964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418364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7" imgH="277" progId="TCLayout.ActiveDocument.1">
                  <p:embed/>
                </p:oleObj>
              </mc:Choice>
              <mc:Fallback>
                <p:oleObj name="think-cell Folie" r:id="rId3" imgW="277" imgH="277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48716754-09C1-3542-8FB3-047B877964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C57FF860-80C4-F544-9349-277B28F447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344C450E-3795-427C-8536-E9482BBF8724}" type="datetime1">
              <a:rPr lang="en-US" smtClean="0"/>
              <a:pPr/>
              <a:t>8/29/2025</a:t>
            </a:fld>
            <a:endParaRPr lang="en-US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61938E86-6CF5-9C42-AB2F-96E9B547A11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17CD396C-6A52-4D5A-BAE3-92A1CC3BBDE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Platshållare för text 15">
            <a:extLst>
              <a:ext uri="{FF2B5EF4-FFF2-40B4-BE49-F238E27FC236}">
                <a16:creationId xmlns:a16="http://schemas.microsoft.com/office/drawing/2014/main" id="{03424855-B277-8744-9C85-9975925B820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3850" y="277200"/>
            <a:ext cx="5616572" cy="276999"/>
          </a:xfrm>
        </p:spPr>
        <p:txBody>
          <a:bodyPr lIns="111600" rIns="216000" anchor="t"/>
          <a:lstStyle>
            <a:lvl1pPr marL="3175" indent="-3175" rtl="0">
              <a:buNone/>
              <a:tabLst/>
              <a:defRPr sz="12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add navigation/subheader</a:t>
            </a:r>
          </a:p>
        </p:txBody>
      </p:sp>
      <p:sp>
        <p:nvSpPr>
          <p:cNvPr id="19" name="Platshållare för text 18">
            <a:extLst>
              <a:ext uri="{FF2B5EF4-FFF2-40B4-BE49-F238E27FC236}">
                <a16:creationId xmlns:a16="http://schemas.microsoft.com/office/drawing/2014/main" id="{4615DFA7-0616-B744-975C-88C9447A199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3848" y="4611600"/>
            <a:ext cx="5616575" cy="142886"/>
          </a:xfrm>
        </p:spPr>
        <p:txBody>
          <a:bodyPr lIns="111600" tIns="0" bIns="0" anchor="ctr"/>
          <a:lstStyle>
            <a:lvl1pPr rtl="0">
              <a:buNone/>
              <a:defRPr sz="600"/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/>
            <a:r>
              <a:rPr lang="en-US" noProof="0"/>
              <a:t>*Click to add footnotes</a:t>
            </a:r>
          </a:p>
        </p:txBody>
      </p:sp>
      <p:sp>
        <p:nvSpPr>
          <p:cNvPr id="16" name="Rubrik 1">
            <a:extLst>
              <a:ext uri="{FF2B5EF4-FFF2-40B4-BE49-F238E27FC236}">
                <a16:creationId xmlns:a16="http://schemas.microsoft.com/office/drawing/2014/main" id="{29C1BAB5-302C-E24B-AF46-F5810100CE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851" y="545326"/>
            <a:ext cx="5616572" cy="741454"/>
          </a:xfrm>
        </p:spPr>
        <p:txBody>
          <a:bodyPr vert="horz" rIns="216000"/>
          <a:lstStyle>
            <a:lvl1pPr rtl="0">
              <a:defRPr spc="-50" baseline="0"/>
            </a:lvl1pPr>
          </a:lstStyle>
          <a:p>
            <a:r>
              <a:rPr lang="en-US" noProof="0"/>
              <a:t>Click to add a headline of maximum two lines</a:t>
            </a:r>
          </a:p>
        </p:txBody>
      </p:sp>
      <p:sp>
        <p:nvSpPr>
          <p:cNvPr id="14" name="Platshållare för bild 3">
            <a:extLst>
              <a:ext uri="{FF2B5EF4-FFF2-40B4-BE49-F238E27FC236}">
                <a16:creationId xmlns:a16="http://schemas.microsoft.com/office/drawing/2014/main" id="{F5C3C095-2530-E045-81C5-702F3F64FC3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84887" y="158750"/>
            <a:ext cx="2879725" cy="4681538"/>
          </a:xfrm>
          <a:blipFill>
            <a:blip r:embed="rId5"/>
            <a:tile tx="0" ty="0" sx="100000" sy="100000" flip="none" algn="tl"/>
          </a:blipFill>
        </p:spPr>
        <p:txBody>
          <a:bodyPr/>
          <a:lstStyle>
            <a:lvl1pPr algn="ctr" rtl="0">
              <a:buNone/>
              <a:defRPr sz="8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en-US" noProof="0"/>
              <a:t>Click on the icon to add an image</a:t>
            </a:r>
          </a:p>
        </p:txBody>
      </p:sp>
      <p:sp>
        <p:nvSpPr>
          <p:cNvPr id="15" name="Platshållare för text 11">
            <a:extLst>
              <a:ext uri="{FF2B5EF4-FFF2-40B4-BE49-F238E27FC236}">
                <a16:creationId xmlns:a16="http://schemas.microsoft.com/office/drawing/2014/main" id="{1D880C39-01D1-6145-8803-71635B3AA79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3851" y="1433590"/>
            <a:ext cx="5616572" cy="3164584"/>
          </a:xfrm>
        </p:spPr>
        <p:txBody>
          <a:bodyPr rIns="216000"/>
          <a:lstStyle>
            <a:lvl1pPr marL="266700" indent="-266700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FontTx/>
              <a:buBlip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</a:buBlip>
              <a:tabLst/>
              <a:defRPr sz="1600" b="1"/>
            </a:lvl1pPr>
            <a:lvl2pPr marL="15875" indent="-15875">
              <a:tabLst/>
              <a:defRPr sz="2400" b="1"/>
            </a:lvl2pPr>
            <a:lvl3pPr marL="15875" indent="-15875">
              <a:tabLst/>
              <a:defRPr sz="2400" b="1"/>
            </a:lvl3pPr>
            <a:lvl4pPr marL="15875" indent="-15875">
              <a:tabLst/>
              <a:defRPr sz="2400" b="1"/>
            </a:lvl4pPr>
            <a:lvl5pPr marL="15875" indent="-15875">
              <a:tabLst/>
              <a:defRPr sz="2400" b="1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1" name="Platshållare för sidfot 6">
            <a:extLst>
              <a:ext uri="{FF2B5EF4-FFF2-40B4-BE49-F238E27FC236}">
                <a16:creationId xmlns:a16="http://schemas.microsoft.com/office/drawing/2014/main" id="{247D01AC-24E0-DC4E-B377-A91A85961AC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84887" y="4901296"/>
            <a:ext cx="2879823" cy="1152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 rtl="0">
              <a:defRPr sz="600">
                <a:solidFill>
                  <a:srgbClr val="737373"/>
                </a:solidFill>
              </a:defRPr>
            </a:lvl1pPr>
          </a:lstStyle>
          <a:p>
            <a:r>
              <a:rPr lang="en-US"/>
              <a:t>Go to header/footer to change text 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998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18" Type="http://schemas.openxmlformats.org/officeDocument/2006/relationships/slideLayout" Target="../slideLayouts/slideLayout41.xml"/><Relationship Id="rId26" Type="http://schemas.openxmlformats.org/officeDocument/2006/relationships/slideLayout" Target="../slideLayouts/slideLayout49.xml"/><Relationship Id="rId3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44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slideLayout" Target="../slideLayouts/slideLayout40.xml"/><Relationship Id="rId25" Type="http://schemas.openxmlformats.org/officeDocument/2006/relationships/slideLayout" Target="../slideLayouts/slideLayout48.xml"/><Relationship Id="rId2" Type="http://schemas.openxmlformats.org/officeDocument/2006/relationships/slideLayout" Target="../slideLayouts/slideLayout25.xml"/><Relationship Id="rId16" Type="http://schemas.openxmlformats.org/officeDocument/2006/relationships/slideLayout" Target="../slideLayouts/slideLayout39.xml"/><Relationship Id="rId20" Type="http://schemas.openxmlformats.org/officeDocument/2006/relationships/slideLayout" Target="../slideLayouts/slideLayout43.xml"/><Relationship Id="rId29" Type="http://schemas.openxmlformats.org/officeDocument/2006/relationships/oleObject" Target="../embeddings/oleObject25.bin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24" Type="http://schemas.openxmlformats.org/officeDocument/2006/relationships/slideLayout" Target="../slideLayouts/slideLayout47.xml"/><Relationship Id="rId5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8.xml"/><Relationship Id="rId23" Type="http://schemas.openxmlformats.org/officeDocument/2006/relationships/slideLayout" Target="../slideLayouts/slideLayout46.xml"/><Relationship Id="rId28" Type="http://schemas.openxmlformats.org/officeDocument/2006/relationships/tags" Target="../tags/tag26.xml"/><Relationship Id="rId10" Type="http://schemas.openxmlformats.org/officeDocument/2006/relationships/slideLayout" Target="../slideLayouts/slideLayout33.xml"/><Relationship Id="rId19" Type="http://schemas.openxmlformats.org/officeDocument/2006/relationships/slideLayout" Target="../slideLayouts/slideLayout42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Relationship Id="rId22" Type="http://schemas.openxmlformats.org/officeDocument/2006/relationships/slideLayout" Target="../slideLayouts/slideLayout45.xml"/><Relationship Id="rId27" Type="http://schemas.openxmlformats.org/officeDocument/2006/relationships/theme" Target="../theme/theme2.xml"/><Relationship Id="rId30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7CDA2847-922A-886D-A876-CD0760995F8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19169647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6" imgW="277" imgH="277" progId="TCLayout.ActiveDocument.1">
                  <p:embed/>
                </p:oleObj>
              </mc:Choice>
              <mc:Fallback>
                <p:oleObj name="think-cell Folie" r:id="rId26" imgW="277" imgH="277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7CDA2847-922A-886D-A876-CD0760995F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Frame">
            <a:extLst>
              <a:ext uri="{FF2B5EF4-FFF2-40B4-BE49-F238E27FC236}">
                <a16:creationId xmlns:a16="http://schemas.microsoft.com/office/drawing/2014/main" id="{CD4B332F-8E6A-4544-856F-C9543E014148}"/>
              </a:ext>
            </a:extLst>
          </p:cNvPr>
          <p:cNvSpPr/>
          <p:nvPr userDrawn="1"/>
        </p:nvSpPr>
        <p:spPr>
          <a:xfrm rot="5400000">
            <a:off x="2000250" y="-2000250"/>
            <a:ext cx="5143500" cy="9144000"/>
          </a:xfrm>
          <a:custGeom>
            <a:avLst/>
            <a:gdLst>
              <a:gd name="connsiteX0" fmla="*/ 158750 w 5143500"/>
              <a:gd name="connsiteY0" fmla="*/ 8964612 h 9144000"/>
              <a:gd name="connsiteX1" fmla="*/ 4840289 w 5143500"/>
              <a:gd name="connsiteY1" fmla="*/ 8964612 h 9144000"/>
              <a:gd name="connsiteX2" fmla="*/ 4840289 w 5143500"/>
              <a:gd name="connsiteY2" fmla="*/ 179389 h 9144000"/>
              <a:gd name="connsiteX3" fmla="*/ 158750 w 5143500"/>
              <a:gd name="connsiteY3" fmla="*/ 179389 h 9144000"/>
              <a:gd name="connsiteX4" fmla="*/ 0 w 5143500"/>
              <a:gd name="connsiteY4" fmla="*/ 179389 h 9144000"/>
              <a:gd name="connsiteX5" fmla="*/ 0 w 5143500"/>
              <a:gd name="connsiteY5" fmla="*/ 0 h 9144000"/>
              <a:gd name="connsiteX6" fmla="*/ 5143500 w 5143500"/>
              <a:gd name="connsiteY6" fmla="*/ 0 h 9144000"/>
              <a:gd name="connsiteX7" fmla="*/ 5143500 w 5143500"/>
              <a:gd name="connsiteY7" fmla="*/ 25398 h 9144000"/>
              <a:gd name="connsiteX8" fmla="*/ 5143500 w 5143500"/>
              <a:gd name="connsiteY8" fmla="*/ 25398 h 9144000"/>
              <a:gd name="connsiteX9" fmla="*/ 5143500 w 5143500"/>
              <a:gd name="connsiteY9" fmla="*/ 9033715 h 9144000"/>
              <a:gd name="connsiteX10" fmla="*/ 5143499 w 5143500"/>
              <a:gd name="connsiteY10" fmla="*/ 9033715 h 9144000"/>
              <a:gd name="connsiteX11" fmla="*/ 5143499 w 5143500"/>
              <a:gd name="connsiteY11" fmla="*/ 9144000 h 9144000"/>
              <a:gd name="connsiteX12" fmla="*/ 0 w 5143500"/>
              <a:gd name="connsiteY12" fmla="*/ 9144000 h 9144000"/>
              <a:gd name="connsiteX13" fmla="*/ 0 w 5143500"/>
              <a:gd name="connsiteY13" fmla="*/ 9033714 h 9144000"/>
              <a:gd name="connsiteX14" fmla="*/ 0 w 5143500"/>
              <a:gd name="connsiteY14" fmla="*/ 9033714 h 9144000"/>
              <a:gd name="connsiteX15" fmla="*/ 0 w 5143500"/>
              <a:gd name="connsiteY15" fmla="*/ 179389 h 91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5143500" h="9144000">
                <a:moveTo>
                  <a:pt x="158750" y="8964612"/>
                </a:moveTo>
                <a:lnTo>
                  <a:pt x="4840289" y="8964612"/>
                </a:lnTo>
                <a:lnTo>
                  <a:pt x="4840289" y="179389"/>
                </a:lnTo>
                <a:lnTo>
                  <a:pt x="158750" y="179389"/>
                </a:lnTo>
                <a:close/>
                <a:moveTo>
                  <a:pt x="0" y="179389"/>
                </a:moveTo>
                <a:lnTo>
                  <a:pt x="0" y="0"/>
                </a:lnTo>
                <a:lnTo>
                  <a:pt x="5143500" y="0"/>
                </a:lnTo>
                <a:lnTo>
                  <a:pt x="5143500" y="25398"/>
                </a:lnTo>
                <a:lnTo>
                  <a:pt x="5143500" y="25398"/>
                </a:lnTo>
                <a:lnTo>
                  <a:pt x="5143500" y="9033715"/>
                </a:lnTo>
                <a:lnTo>
                  <a:pt x="5143499" y="9033715"/>
                </a:lnTo>
                <a:lnTo>
                  <a:pt x="5143499" y="9144000"/>
                </a:lnTo>
                <a:lnTo>
                  <a:pt x="0" y="9144000"/>
                </a:lnTo>
                <a:lnTo>
                  <a:pt x="0" y="9033714"/>
                </a:lnTo>
                <a:lnTo>
                  <a:pt x="0" y="9033714"/>
                </a:lnTo>
                <a:lnTo>
                  <a:pt x="0" y="17938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noProof="0"/>
          </a:p>
        </p:txBody>
      </p:sp>
      <p:grpSp>
        <p:nvGrpSpPr>
          <p:cNvPr id="37" name="Logo">
            <a:extLst>
              <a:ext uri="{FF2B5EF4-FFF2-40B4-BE49-F238E27FC236}">
                <a16:creationId xmlns:a16="http://schemas.microsoft.com/office/drawing/2014/main" id="{9FB574A9-A763-714E-AC65-2F90EB646F51}"/>
              </a:ext>
            </a:extLst>
          </p:cNvPr>
          <p:cNvGrpSpPr/>
          <p:nvPr userDrawn="1"/>
        </p:nvGrpSpPr>
        <p:grpSpPr>
          <a:xfrm>
            <a:off x="4085649" y="4917137"/>
            <a:ext cx="972702" cy="148746"/>
            <a:chOff x="4085649" y="4917137"/>
            <a:chExt cx="972702" cy="148746"/>
          </a:xfrm>
        </p:grpSpPr>
        <p:sp>
          <p:nvSpPr>
            <p:cNvPr id="38" name="Frihandsfigur 37">
              <a:extLst>
                <a:ext uri="{FF2B5EF4-FFF2-40B4-BE49-F238E27FC236}">
                  <a16:creationId xmlns:a16="http://schemas.microsoft.com/office/drawing/2014/main" id="{65D872E4-7FD8-304A-A33E-A4979619DC23}"/>
                </a:ext>
              </a:extLst>
            </p:cNvPr>
            <p:cNvSpPr/>
            <p:nvPr/>
          </p:nvSpPr>
          <p:spPr>
            <a:xfrm>
              <a:off x="4909411" y="4917137"/>
              <a:ext cx="148940" cy="74384"/>
            </a:xfrm>
            <a:custGeom>
              <a:avLst/>
              <a:gdLst>
                <a:gd name="connsiteX0" fmla="*/ 108621 w 217242"/>
                <a:gd name="connsiteY0" fmla="*/ 0 h 108497"/>
                <a:gd name="connsiteX1" fmla="*/ 0 w 217242"/>
                <a:gd name="connsiteY1" fmla="*/ 108498 h 108497"/>
                <a:gd name="connsiteX2" fmla="*/ 217243 w 217242"/>
                <a:gd name="connsiteY2" fmla="*/ 108498 h 108497"/>
                <a:gd name="connsiteX3" fmla="*/ 108650 w 217242"/>
                <a:gd name="connsiteY3" fmla="*/ 0 h 108497"/>
                <a:gd name="connsiteX4" fmla="*/ 108621 w 217242"/>
                <a:gd name="connsiteY4" fmla="*/ 0 h 1084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7242" h="108497">
                  <a:moveTo>
                    <a:pt x="108621" y="0"/>
                  </a:moveTo>
                  <a:cubicBezTo>
                    <a:pt x="48632" y="0"/>
                    <a:pt x="0" y="48576"/>
                    <a:pt x="0" y="108498"/>
                  </a:cubicBezTo>
                  <a:lnTo>
                    <a:pt x="217243" y="108498"/>
                  </a:lnTo>
                  <a:cubicBezTo>
                    <a:pt x="217257" y="48584"/>
                    <a:pt x="168632" y="8"/>
                    <a:pt x="108650" y="0"/>
                  </a:cubicBezTo>
                  <a:cubicBezTo>
                    <a:pt x="108640" y="0"/>
                    <a:pt x="108631" y="0"/>
                    <a:pt x="108621" y="0"/>
                  </a:cubicBezTo>
                  <a:close/>
                </a:path>
              </a:pathLst>
            </a:custGeom>
            <a:solidFill>
              <a:srgbClr val="FFDA00"/>
            </a:solidFill>
            <a:ln w="140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noProof="0"/>
            </a:p>
          </p:txBody>
        </p:sp>
        <p:sp>
          <p:nvSpPr>
            <p:cNvPr id="39" name="Frihandsfigur 38">
              <a:extLst>
                <a:ext uri="{FF2B5EF4-FFF2-40B4-BE49-F238E27FC236}">
                  <a16:creationId xmlns:a16="http://schemas.microsoft.com/office/drawing/2014/main" id="{9EA5AED1-B3FC-7148-ADAE-32AE773DA5EC}"/>
                </a:ext>
              </a:extLst>
            </p:cNvPr>
            <p:cNvSpPr/>
            <p:nvPr/>
          </p:nvSpPr>
          <p:spPr>
            <a:xfrm>
              <a:off x="4909411" y="4991508"/>
              <a:ext cx="148940" cy="74375"/>
            </a:xfrm>
            <a:custGeom>
              <a:avLst/>
              <a:gdLst>
                <a:gd name="connsiteX0" fmla="*/ 108621 w 217242"/>
                <a:gd name="connsiteY0" fmla="*/ 108484 h 108483"/>
                <a:gd name="connsiteX1" fmla="*/ 0 w 217242"/>
                <a:gd name="connsiteY1" fmla="*/ 0 h 108483"/>
                <a:gd name="connsiteX2" fmla="*/ 217243 w 217242"/>
                <a:gd name="connsiteY2" fmla="*/ 0 h 108483"/>
                <a:gd name="connsiteX3" fmla="*/ 108636 w 217242"/>
                <a:gd name="connsiteY3" fmla="*/ 108484 h 108483"/>
                <a:gd name="connsiteX4" fmla="*/ 108621 w 217242"/>
                <a:gd name="connsiteY4" fmla="*/ 108484 h 108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7242" h="108483">
                  <a:moveTo>
                    <a:pt x="108621" y="108484"/>
                  </a:moveTo>
                  <a:cubicBezTo>
                    <a:pt x="48637" y="108484"/>
                    <a:pt x="7" y="59916"/>
                    <a:pt x="0" y="0"/>
                  </a:cubicBezTo>
                  <a:lnTo>
                    <a:pt x="217243" y="0"/>
                  </a:lnTo>
                  <a:cubicBezTo>
                    <a:pt x="217243" y="59914"/>
                    <a:pt x="168618" y="108484"/>
                    <a:pt x="108636" y="108484"/>
                  </a:cubicBezTo>
                  <a:cubicBezTo>
                    <a:pt x="108631" y="108484"/>
                    <a:pt x="108626" y="108484"/>
                    <a:pt x="108621" y="108484"/>
                  </a:cubicBezTo>
                  <a:close/>
                </a:path>
              </a:pathLst>
            </a:custGeom>
            <a:solidFill>
              <a:srgbClr val="2071B5"/>
            </a:solidFill>
            <a:ln w="140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noProof="0"/>
            </a:p>
          </p:txBody>
        </p:sp>
        <p:sp>
          <p:nvSpPr>
            <p:cNvPr id="40" name="Frihandsfigur 39">
              <a:extLst>
                <a:ext uri="{FF2B5EF4-FFF2-40B4-BE49-F238E27FC236}">
                  <a16:creationId xmlns:a16="http://schemas.microsoft.com/office/drawing/2014/main" id="{FFE26B1C-3AA7-6C4A-94D9-E473B98DD1BF}"/>
                </a:ext>
              </a:extLst>
            </p:cNvPr>
            <p:cNvSpPr/>
            <p:nvPr/>
          </p:nvSpPr>
          <p:spPr>
            <a:xfrm>
              <a:off x="4085649" y="4951310"/>
              <a:ext cx="781273" cy="84934"/>
            </a:xfrm>
            <a:custGeom>
              <a:avLst/>
              <a:gdLst>
                <a:gd name="connsiteX0" fmla="*/ 595123 w 781273"/>
                <a:gd name="connsiteY0" fmla="*/ 23454 h 84934"/>
                <a:gd name="connsiteX1" fmla="*/ 583493 w 781273"/>
                <a:gd name="connsiteY1" fmla="*/ 52452 h 84934"/>
                <a:gd name="connsiteX2" fmla="*/ 606935 w 781273"/>
                <a:gd name="connsiteY2" fmla="*/ 52442 h 84934"/>
                <a:gd name="connsiteX3" fmla="*/ 595267 w 781273"/>
                <a:gd name="connsiteY3" fmla="*/ 23454 h 84934"/>
                <a:gd name="connsiteX4" fmla="*/ 123589 w 781273"/>
                <a:gd name="connsiteY4" fmla="*/ 23454 h 84934"/>
                <a:gd name="connsiteX5" fmla="*/ 111959 w 781273"/>
                <a:gd name="connsiteY5" fmla="*/ 52452 h 84934"/>
                <a:gd name="connsiteX6" fmla="*/ 135363 w 781273"/>
                <a:gd name="connsiteY6" fmla="*/ 52442 h 84934"/>
                <a:gd name="connsiteX7" fmla="*/ 123734 w 781273"/>
                <a:gd name="connsiteY7" fmla="*/ 23454 h 84934"/>
                <a:gd name="connsiteX8" fmla="*/ 584293 w 781273"/>
                <a:gd name="connsiteY8" fmla="*/ 48 h 84934"/>
                <a:gd name="connsiteX9" fmla="*/ 606136 w 781273"/>
                <a:gd name="connsiteY9" fmla="*/ 48 h 84934"/>
                <a:gd name="connsiteX10" fmla="*/ 641516 w 781273"/>
                <a:gd name="connsiteY10" fmla="*/ 84886 h 84934"/>
                <a:gd name="connsiteX11" fmla="*/ 620001 w 781273"/>
                <a:gd name="connsiteY11" fmla="*/ 84886 h 84934"/>
                <a:gd name="connsiteX12" fmla="*/ 613892 w 781273"/>
                <a:gd name="connsiteY12" fmla="*/ 69775 h 84934"/>
                <a:gd name="connsiteX13" fmla="*/ 576488 w 781273"/>
                <a:gd name="connsiteY13" fmla="*/ 69775 h 84934"/>
                <a:gd name="connsiteX14" fmla="*/ 570389 w 781273"/>
                <a:gd name="connsiteY14" fmla="*/ 84934 h 84934"/>
                <a:gd name="connsiteX15" fmla="*/ 548864 w 781273"/>
                <a:gd name="connsiteY15" fmla="*/ 84934 h 84934"/>
                <a:gd name="connsiteX16" fmla="*/ 112712 w 781273"/>
                <a:gd name="connsiteY16" fmla="*/ 48 h 84934"/>
                <a:gd name="connsiteX17" fmla="*/ 134515 w 781273"/>
                <a:gd name="connsiteY17" fmla="*/ 48 h 84934"/>
                <a:gd name="connsiteX18" fmla="*/ 169992 w 781273"/>
                <a:gd name="connsiteY18" fmla="*/ 84886 h 84934"/>
                <a:gd name="connsiteX19" fmla="*/ 148467 w 781273"/>
                <a:gd name="connsiteY19" fmla="*/ 84886 h 84934"/>
                <a:gd name="connsiteX20" fmla="*/ 142320 w 781273"/>
                <a:gd name="connsiteY20" fmla="*/ 69775 h 84934"/>
                <a:gd name="connsiteX21" fmla="*/ 104917 w 781273"/>
                <a:gd name="connsiteY21" fmla="*/ 69775 h 84934"/>
                <a:gd name="connsiteX22" fmla="*/ 98808 w 781273"/>
                <a:gd name="connsiteY22" fmla="*/ 84934 h 84934"/>
                <a:gd name="connsiteX23" fmla="*/ 77293 w 781273"/>
                <a:gd name="connsiteY23" fmla="*/ 84934 h 84934"/>
                <a:gd name="connsiteX24" fmla="*/ 719820 w 781273"/>
                <a:gd name="connsiteY24" fmla="*/ 0 h 84934"/>
                <a:gd name="connsiteX25" fmla="*/ 742077 w 781273"/>
                <a:gd name="connsiteY25" fmla="*/ 0 h 84934"/>
                <a:gd name="connsiteX26" fmla="*/ 742077 w 781273"/>
                <a:gd name="connsiteY26" fmla="*/ 66042 h 84934"/>
                <a:gd name="connsiteX27" fmla="*/ 781273 w 781273"/>
                <a:gd name="connsiteY27" fmla="*/ 66042 h 84934"/>
                <a:gd name="connsiteX28" fmla="*/ 781273 w 781273"/>
                <a:gd name="connsiteY28" fmla="*/ 84886 h 84934"/>
                <a:gd name="connsiteX29" fmla="*/ 719820 w 781273"/>
                <a:gd name="connsiteY29" fmla="*/ 84886 h 84934"/>
                <a:gd name="connsiteX30" fmla="*/ 648751 w 781273"/>
                <a:gd name="connsiteY30" fmla="*/ 0 h 84934"/>
                <a:gd name="connsiteX31" fmla="*/ 671018 w 781273"/>
                <a:gd name="connsiteY31" fmla="*/ 0 h 84934"/>
                <a:gd name="connsiteX32" fmla="*/ 671018 w 781273"/>
                <a:gd name="connsiteY32" fmla="*/ 66042 h 84934"/>
                <a:gd name="connsiteX33" fmla="*/ 710214 w 781273"/>
                <a:gd name="connsiteY33" fmla="*/ 66042 h 84934"/>
                <a:gd name="connsiteX34" fmla="*/ 710214 w 781273"/>
                <a:gd name="connsiteY34" fmla="*/ 84886 h 84934"/>
                <a:gd name="connsiteX35" fmla="*/ 648751 w 781273"/>
                <a:gd name="connsiteY35" fmla="*/ 84886 h 84934"/>
                <a:gd name="connsiteX36" fmla="*/ 491429 w 781273"/>
                <a:gd name="connsiteY36" fmla="*/ 0 h 84934"/>
                <a:gd name="connsiteX37" fmla="*/ 556293 w 781273"/>
                <a:gd name="connsiteY37" fmla="*/ 0 h 84934"/>
                <a:gd name="connsiteX38" fmla="*/ 556293 w 781273"/>
                <a:gd name="connsiteY38" fmla="*/ 18190 h 84934"/>
                <a:gd name="connsiteX39" fmla="*/ 513686 w 781273"/>
                <a:gd name="connsiteY39" fmla="*/ 18190 h 84934"/>
                <a:gd name="connsiteX40" fmla="*/ 513686 w 781273"/>
                <a:gd name="connsiteY40" fmla="*/ 32338 h 84934"/>
                <a:gd name="connsiteX41" fmla="*/ 549616 w 781273"/>
                <a:gd name="connsiteY41" fmla="*/ 32338 h 84934"/>
                <a:gd name="connsiteX42" fmla="*/ 549616 w 781273"/>
                <a:gd name="connsiteY42" fmla="*/ 50527 h 84934"/>
                <a:gd name="connsiteX43" fmla="*/ 513686 w 781273"/>
                <a:gd name="connsiteY43" fmla="*/ 50527 h 84934"/>
                <a:gd name="connsiteX44" fmla="*/ 513686 w 781273"/>
                <a:gd name="connsiteY44" fmla="*/ 84886 h 84934"/>
                <a:gd name="connsiteX45" fmla="*/ 491429 w 781273"/>
                <a:gd name="connsiteY45" fmla="*/ 84886 h 84934"/>
                <a:gd name="connsiteX46" fmla="*/ 394124 w 781273"/>
                <a:gd name="connsiteY46" fmla="*/ 0 h 84934"/>
                <a:gd name="connsiteX47" fmla="*/ 415380 w 781273"/>
                <a:gd name="connsiteY47" fmla="*/ 0 h 84934"/>
                <a:gd name="connsiteX48" fmla="*/ 453246 w 781273"/>
                <a:gd name="connsiteY48" fmla="*/ 50797 h 84934"/>
                <a:gd name="connsiteX49" fmla="*/ 453246 w 781273"/>
                <a:gd name="connsiteY49" fmla="*/ 0 h 84934"/>
                <a:gd name="connsiteX50" fmla="*/ 474500 w 781273"/>
                <a:gd name="connsiteY50" fmla="*/ 0 h 84934"/>
                <a:gd name="connsiteX51" fmla="*/ 474500 w 781273"/>
                <a:gd name="connsiteY51" fmla="*/ 84886 h 84934"/>
                <a:gd name="connsiteX52" fmla="*/ 453246 w 781273"/>
                <a:gd name="connsiteY52" fmla="*/ 84886 h 84934"/>
                <a:gd name="connsiteX53" fmla="*/ 415380 w 781273"/>
                <a:gd name="connsiteY53" fmla="*/ 34705 h 84934"/>
                <a:gd name="connsiteX54" fmla="*/ 415380 w 781273"/>
                <a:gd name="connsiteY54" fmla="*/ 84886 h 84934"/>
                <a:gd name="connsiteX55" fmla="*/ 394124 w 781273"/>
                <a:gd name="connsiteY55" fmla="*/ 84886 h 84934"/>
                <a:gd name="connsiteX56" fmla="*/ 315887 w 781273"/>
                <a:gd name="connsiteY56" fmla="*/ 0 h 84934"/>
                <a:gd name="connsiteX57" fmla="*/ 378728 w 781273"/>
                <a:gd name="connsiteY57" fmla="*/ 0 h 84934"/>
                <a:gd name="connsiteX58" fmla="*/ 378728 w 781273"/>
                <a:gd name="connsiteY58" fmla="*/ 18190 h 84934"/>
                <a:gd name="connsiteX59" fmla="*/ 338144 w 781273"/>
                <a:gd name="connsiteY59" fmla="*/ 18190 h 84934"/>
                <a:gd name="connsiteX60" fmla="*/ 338144 w 781273"/>
                <a:gd name="connsiteY60" fmla="*/ 31799 h 84934"/>
                <a:gd name="connsiteX61" fmla="*/ 372542 w 781273"/>
                <a:gd name="connsiteY61" fmla="*/ 31799 h 84934"/>
                <a:gd name="connsiteX62" fmla="*/ 372542 w 781273"/>
                <a:gd name="connsiteY62" fmla="*/ 49988 h 84934"/>
                <a:gd name="connsiteX63" fmla="*/ 338144 w 781273"/>
                <a:gd name="connsiteY63" fmla="*/ 49988 h 84934"/>
                <a:gd name="connsiteX64" fmla="*/ 338144 w 781273"/>
                <a:gd name="connsiteY64" fmla="*/ 66696 h 84934"/>
                <a:gd name="connsiteX65" fmla="*/ 378728 w 781273"/>
                <a:gd name="connsiteY65" fmla="*/ 66696 h 84934"/>
                <a:gd name="connsiteX66" fmla="*/ 378728 w 781273"/>
                <a:gd name="connsiteY66" fmla="*/ 84886 h 84934"/>
                <a:gd name="connsiteX67" fmla="*/ 338144 w 781273"/>
                <a:gd name="connsiteY67" fmla="*/ 84886 h 84934"/>
                <a:gd name="connsiteX68" fmla="*/ 315887 w 781273"/>
                <a:gd name="connsiteY68" fmla="*/ 84886 h 84934"/>
                <a:gd name="connsiteX69" fmla="*/ 235954 w 781273"/>
                <a:gd name="connsiteY69" fmla="*/ 0 h 84934"/>
                <a:gd name="connsiteX70" fmla="*/ 305096 w 781273"/>
                <a:gd name="connsiteY70" fmla="*/ 0 h 84934"/>
                <a:gd name="connsiteX71" fmla="*/ 305096 w 781273"/>
                <a:gd name="connsiteY71" fmla="*/ 18190 h 84934"/>
                <a:gd name="connsiteX72" fmla="*/ 280468 w 781273"/>
                <a:gd name="connsiteY72" fmla="*/ 18190 h 84934"/>
                <a:gd name="connsiteX73" fmla="*/ 280468 w 781273"/>
                <a:gd name="connsiteY73" fmla="*/ 84886 h 84934"/>
                <a:gd name="connsiteX74" fmla="*/ 258211 w 781273"/>
                <a:gd name="connsiteY74" fmla="*/ 84886 h 84934"/>
                <a:gd name="connsiteX75" fmla="*/ 258211 w 781273"/>
                <a:gd name="connsiteY75" fmla="*/ 18190 h 84934"/>
                <a:gd name="connsiteX76" fmla="*/ 235954 w 781273"/>
                <a:gd name="connsiteY76" fmla="*/ 18190 h 84934"/>
                <a:gd name="connsiteX77" fmla="*/ 159066 w 781273"/>
                <a:gd name="connsiteY77" fmla="*/ 0 h 84934"/>
                <a:gd name="connsiteX78" fmla="*/ 228198 w 781273"/>
                <a:gd name="connsiteY78" fmla="*/ 0 h 84934"/>
                <a:gd name="connsiteX79" fmla="*/ 228198 w 781273"/>
                <a:gd name="connsiteY79" fmla="*/ 18190 h 84934"/>
                <a:gd name="connsiteX80" fmla="*/ 205941 w 781273"/>
                <a:gd name="connsiteY80" fmla="*/ 18190 h 84934"/>
                <a:gd name="connsiteX81" fmla="*/ 205941 w 781273"/>
                <a:gd name="connsiteY81" fmla="*/ 84886 h 84934"/>
                <a:gd name="connsiteX82" fmla="*/ 183684 w 781273"/>
                <a:gd name="connsiteY82" fmla="*/ 84886 h 84934"/>
                <a:gd name="connsiteX83" fmla="*/ 183684 w 781273"/>
                <a:gd name="connsiteY83" fmla="*/ 18190 h 84934"/>
                <a:gd name="connsiteX84" fmla="*/ 159066 w 781273"/>
                <a:gd name="connsiteY84" fmla="*/ 18190 h 84934"/>
                <a:gd name="connsiteX85" fmla="*/ 0 w 781273"/>
                <a:gd name="connsiteY85" fmla="*/ 0 h 84934"/>
                <a:gd name="connsiteX86" fmla="*/ 21525 w 781273"/>
                <a:gd name="connsiteY86" fmla="*/ 0 h 84934"/>
                <a:gd name="connsiteX87" fmla="*/ 45728 w 781273"/>
                <a:gd name="connsiteY87" fmla="*/ 59680 h 84934"/>
                <a:gd name="connsiteX88" fmla="*/ 45911 w 781273"/>
                <a:gd name="connsiteY88" fmla="*/ 59680 h 84934"/>
                <a:gd name="connsiteX89" fmla="*/ 70124 w 781273"/>
                <a:gd name="connsiteY89" fmla="*/ 0 h 84934"/>
                <a:gd name="connsiteX90" fmla="*/ 91639 w 781273"/>
                <a:gd name="connsiteY90" fmla="*/ 0 h 84934"/>
                <a:gd name="connsiteX91" fmla="*/ 56780 w 781273"/>
                <a:gd name="connsiteY91" fmla="*/ 84886 h 84934"/>
                <a:gd name="connsiteX92" fmla="*/ 34859 w 781273"/>
                <a:gd name="connsiteY92" fmla="*/ 84886 h 84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</a:cxnLst>
              <a:rect l="l" t="t" r="r" b="b"/>
              <a:pathLst>
                <a:path w="781273" h="84934">
                  <a:moveTo>
                    <a:pt x="595123" y="23454"/>
                  </a:moveTo>
                  <a:lnTo>
                    <a:pt x="583493" y="52452"/>
                  </a:lnTo>
                  <a:lnTo>
                    <a:pt x="606935" y="52442"/>
                  </a:lnTo>
                  <a:lnTo>
                    <a:pt x="595267" y="23454"/>
                  </a:lnTo>
                  <a:close/>
                  <a:moveTo>
                    <a:pt x="123589" y="23454"/>
                  </a:moveTo>
                  <a:lnTo>
                    <a:pt x="111959" y="52452"/>
                  </a:lnTo>
                  <a:lnTo>
                    <a:pt x="135363" y="52442"/>
                  </a:lnTo>
                  <a:lnTo>
                    <a:pt x="123734" y="23454"/>
                  </a:lnTo>
                  <a:close/>
                  <a:moveTo>
                    <a:pt x="584293" y="48"/>
                  </a:moveTo>
                  <a:lnTo>
                    <a:pt x="606136" y="48"/>
                  </a:lnTo>
                  <a:lnTo>
                    <a:pt x="641516" y="84886"/>
                  </a:lnTo>
                  <a:lnTo>
                    <a:pt x="620001" y="84886"/>
                  </a:lnTo>
                  <a:lnTo>
                    <a:pt x="613892" y="69775"/>
                  </a:lnTo>
                  <a:lnTo>
                    <a:pt x="576488" y="69775"/>
                  </a:lnTo>
                  <a:lnTo>
                    <a:pt x="570389" y="84934"/>
                  </a:lnTo>
                  <a:lnTo>
                    <a:pt x="548864" y="84934"/>
                  </a:lnTo>
                  <a:close/>
                  <a:moveTo>
                    <a:pt x="112712" y="48"/>
                  </a:moveTo>
                  <a:lnTo>
                    <a:pt x="134515" y="48"/>
                  </a:lnTo>
                  <a:lnTo>
                    <a:pt x="169992" y="84886"/>
                  </a:lnTo>
                  <a:lnTo>
                    <a:pt x="148467" y="84886"/>
                  </a:lnTo>
                  <a:lnTo>
                    <a:pt x="142320" y="69775"/>
                  </a:lnTo>
                  <a:lnTo>
                    <a:pt x="104917" y="69775"/>
                  </a:lnTo>
                  <a:lnTo>
                    <a:pt x="98808" y="84934"/>
                  </a:lnTo>
                  <a:lnTo>
                    <a:pt x="77293" y="84934"/>
                  </a:lnTo>
                  <a:close/>
                  <a:moveTo>
                    <a:pt x="719820" y="0"/>
                  </a:moveTo>
                  <a:lnTo>
                    <a:pt x="742077" y="0"/>
                  </a:lnTo>
                  <a:lnTo>
                    <a:pt x="742077" y="66042"/>
                  </a:lnTo>
                  <a:lnTo>
                    <a:pt x="781273" y="66042"/>
                  </a:lnTo>
                  <a:lnTo>
                    <a:pt x="781273" y="84886"/>
                  </a:lnTo>
                  <a:lnTo>
                    <a:pt x="719820" y="84886"/>
                  </a:lnTo>
                  <a:close/>
                  <a:moveTo>
                    <a:pt x="648751" y="0"/>
                  </a:moveTo>
                  <a:lnTo>
                    <a:pt x="671018" y="0"/>
                  </a:lnTo>
                  <a:lnTo>
                    <a:pt x="671018" y="66042"/>
                  </a:lnTo>
                  <a:lnTo>
                    <a:pt x="710214" y="66042"/>
                  </a:lnTo>
                  <a:lnTo>
                    <a:pt x="710214" y="84886"/>
                  </a:lnTo>
                  <a:lnTo>
                    <a:pt x="648751" y="84886"/>
                  </a:lnTo>
                  <a:close/>
                  <a:moveTo>
                    <a:pt x="491429" y="0"/>
                  </a:moveTo>
                  <a:lnTo>
                    <a:pt x="556293" y="0"/>
                  </a:lnTo>
                  <a:lnTo>
                    <a:pt x="556293" y="18190"/>
                  </a:lnTo>
                  <a:lnTo>
                    <a:pt x="513686" y="18190"/>
                  </a:lnTo>
                  <a:lnTo>
                    <a:pt x="513686" y="32338"/>
                  </a:lnTo>
                  <a:lnTo>
                    <a:pt x="549616" y="32338"/>
                  </a:lnTo>
                  <a:lnTo>
                    <a:pt x="549616" y="50527"/>
                  </a:lnTo>
                  <a:lnTo>
                    <a:pt x="513686" y="50527"/>
                  </a:lnTo>
                  <a:lnTo>
                    <a:pt x="513686" y="84886"/>
                  </a:lnTo>
                  <a:lnTo>
                    <a:pt x="491429" y="84886"/>
                  </a:lnTo>
                  <a:close/>
                  <a:moveTo>
                    <a:pt x="394124" y="0"/>
                  </a:moveTo>
                  <a:lnTo>
                    <a:pt x="415380" y="0"/>
                  </a:lnTo>
                  <a:lnTo>
                    <a:pt x="453246" y="50797"/>
                  </a:lnTo>
                  <a:lnTo>
                    <a:pt x="453246" y="0"/>
                  </a:lnTo>
                  <a:lnTo>
                    <a:pt x="474500" y="0"/>
                  </a:lnTo>
                  <a:lnTo>
                    <a:pt x="474500" y="84886"/>
                  </a:lnTo>
                  <a:lnTo>
                    <a:pt x="453246" y="84886"/>
                  </a:lnTo>
                  <a:lnTo>
                    <a:pt x="415380" y="34705"/>
                  </a:lnTo>
                  <a:lnTo>
                    <a:pt x="415380" y="84886"/>
                  </a:lnTo>
                  <a:lnTo>
                    <a:pt x="394124" y="84886"/>
                  </a:lnTo>
                  <a:close/>
                  <a:moveTo>
                    <a:pt x="315887" y="0"/>
                  </a:moveTo>
                  <a:lnTo>
                    <a:pt x="378728" y="0"/>
                  </a:lnTo>
                  <a:lnTo>
                    <a:pt x="378728" y="18190"/>
                  </a:lnTo>
                  <a:lnTo>
                    <a:pt x="338144" y="18190"/>
                  </a:lnTo>
                  <a:lnTo>
                    <a:pt x="338144" y="31799"/>
                  </a:lnTo>
                  <a:lnTo>
                    <a:pt x="372542" y="31799"/>
                  </a:lnTo>
                  <a:lnTo>
                    <a:pt x="372542" y="49988"/>
                  </a:lnTo>
                  <a:lnTo>
                    <a:pt x="338144" y="49988"/>
                  </a:lnTo>
                  <a:lnTo>
                    <a:pt x="338144" y="66696"/>
                  </a:lnTo>
                  <a:lnTo>
                    <a:pt x="378728" y="66696"/>
                  </a:lnTo>
                  <a:lnTo>
                    <a:pt x="378728" y="84886"/>
                  </a:lnTo>
                  <a:lnTo>
                    <a:pt x="338144" y="84886"/>
                  </a:lnTo>
                  <a:lnTo>
                    <a:pt x="315887" y="84886"/>
                  </a:lnTo>
                  <a:close/>
                  <a:moveTo>
                    <a:pt x="235954" y="0"/>
                  </a:moveTo>
                  <a:lnTo>
                    <a:pt x="305096" y="0"/>
                  </a:lnTo>
                  <a:lnTo>
                    <a:pt x="305096" y="18190"/>
                  </a:lnTo>
                  <a:lnTo>
                    <a:pt x="280468" y="18190"/>
                  </a:lnTo>
                  <a:lnTo>
                    <a:pt x="280468" y="84886"/>
                  </a:lnTo>
                  <a:lnTo>
                    <a:pt x="258211" y="84886"/>
                  </a:lnTo>
                  <a:lnTo>
                    <a:pt x="258211" y="18190"/>
                  </a:lnTo>
                  <a:lnTo>
                    <a:pt x="235954" y="18190"/>
                  </a:lnTo>
                  <a:close/>
                  <a:moveTo>
                    <a:pt x="159066" y="0"/>
                  </a:moveTo>
                  <a:lnTo>
                    <a:pt x="228198" y="0"/>
                  </a:lnTo>
                  <a:lnTo>
                    <a:pt x="228198" y="18190"/>
                  </a:lnTo>
                  <a:lnTo>
                    <a:pt x="205941" y="18190"/>
                  </a:lnTo>
                  <a:lnTo>
                    <a:pt x="205941" y="84886"/>
                  </a:lnTo>
                  <a:lnTo>
                    <a:pt x="183684" y="84886"/>
                  </a:lnTo>
                  <a:lnTo>
                    <a:pt x="183684" y="18190"/>
                  </a:lnTo>
                  <a:lnTo>
                    <a:pt x="159066" y="18190"/>
                  </a:lnTo>
                  <a:close/>
                  <a:moveTo>
                    <a:pt x="0" y="0"/>
                  </a:moveTo>
                  <a:lnTo>
                    <a:pt x="21525" y="0"/>
                  </a:lnTo>
                  <a:lnTo>
                    <a:pt x="45728" y="59680"/>
                  </a:lnTo>
                  <a:lnTo>
                    <a:pt x="45911" y="59680"/>
                  </a:lnTo>
                  <a:lnTo>
                    <a:pt x="70124" y="0"/>
                  </a:lnTo>
                  <a:lnTo>
                    <a:pt x="91639" y="0"/>
                  </a:lnTo>
                  <a:lnTo>
                    <a:pt x="56780" y="84886"/>
                  </a:lnTo>
                  <a:lnTo>
                    <a:pt x="34859" y="84886"/>
                  </a:lnTo>
                  <a:close/>
                </a:path>
              </a:pathLst>
            </a:custGeom>
            <a:solidFill>
              <a:srgbClr val="4E4B48"/>
            </a:solidFill>
            <a:ln w="1400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rtl="0"/>
              <a:endParaRPr lang="en-US" noProof="0"/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23850" y="545325"/>
            <a:ext cx="8496300" cy="413292"/>
          </a:xfrm>
          <a:prstGeom prst="rect">
            <a:avLst/>
          </a:prstGeom>
        </p:spPr>
        <p:txBody>
          <a:bodyPr vert="horz" lIns="91440" tIns="45720" rIns="144000" bIns="45720" rtlCol="0" anchor="t">
            <a:noAutofit/>
          </a:bodyPr>
          <a:lstStyle/>
          <a:p>
            <a:r>
              <a:rPr lang="en-US" noProof="0"/>
              <a:t>Click to edit Master title slid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3850" y="1347788"/>
            <a:ext cx="8496300" cy="3348037"/>
          </a:xfrm>
          <a:prstGeom prst="rect">
            <a:avLst/>
          </a:prstGeom>
        </p:spPr>
        <p:txBody>
          <a:bodyPr vert="horz" lIns="90000" tIns="45720" rIns="144000" bIns="45720" rtlCol="0">
            <a:noAutofit/>
          </a:bodyPr>
          <a:lstStyle/>
          <a:p>
            <a:pPr lvl="0"/>
            <a:r>
              <a:rPr lang="en-US" noProof="0"/>
              <a:t>Click to edit Master text slid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10287" y="4901296"/>
            <a:ext cx="2948826" cy="1152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 rtl="0">
              <a:defRPr sz="600" b="0">
                <a:solidFill>
                  <a:srgbClr val="737373"/>
                </a:solidFill>
              </a:defRPr>
            </a:lvl1pPr>
          </a:lstStyle>
          <a:p>
            <a:fld id="{CB5D2091-16CE-4482-9CF9-CA04C8568B47}" type="datetime1">
              <a:rPr lang="en-US" smtClean="0"/>
              <a:pPr/>
              <a:t>8/29/2025</a:t>
            </a:fld>
            <a:endParaRPr lang="en-US"/>
          </a:p>
        </p:txBody>
      </p:sp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AD23396C-F419-E04B-8B2D-18295DF774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40418" y="5003474"/>
            <a:ext cx="324294" cy="8245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 rtl="0">
              <a:defRPr sz="600" b="0">
                <a:solidFill>
                  <a:srgbClr val="737373"/>
                </a:solidFill>
              </a:defRPr>
            </a:lvl1pPr>
          </a:lstStyle>
          <a:p>
            <a:fld id="{17CD396C-6A52-4D5A-BAE3-92A1CC3BBDE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Platshållare för sidfot 6">
            <a:extLst>
              <a:ext uri="{FF2B5EF4-FFF2-40B4-BE49-F238E27FC236}">
                <a16:creationId xmlns:a16="http://schemas.microsoft.com/office/drawing/2014/main" id="{16E4C672-CF50-B14D-8CAC-37BB2A05635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84887" y="4901296"/>
            <a:ext cx="2879823" cy="1152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 rtl="0">
              <a:defRPr sz="600">
                <a:solidFill>
                  <a:srgbClr val="737373"/>
                </a:solidFill>
              </a:defRPr>
            </a:lvl1pPr>
          </a:lstStyle>
          <a:p>
            <a:r>
              <a:rPr lang="en-US"/>
              <a:t>Go to header/footer to change text </a:t>
            </a:r>
          </a:p>
          <a:p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4E3F84E-A5C1-115E-612E-FA2558E977E0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0" y="5052060"/>
            <a:ext cx="890588" cy="9144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 rtl="0"/>
            <a:r>
              <a:rPr lang="en-US" sz="600">
                <a:solidFill>
                  <a:srgbClr val="73737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fidentiality: C2 - Internal</a:t>
            </a:r>
          </a:p>
        </p:txBody>
      </p:sp>
    </p:spTree>
    <p:extLst>
      <p:ext uri="{BB962C8B-B14F-4D97-AF65-F5344CB8AC3E}">
        <p14:creationId xmlns:p14="http://schemas.microsoft.com/office/powerpoint/2010/main" val="6704673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8" r:id="rId1"/>
    <p:sldLayoutId id="2147483756" r:id="rId2"/>
    <p:sldLayoutId id="2147483772" r:id="rId3"/>
    <p:sldLayoutId id="2147483774" r:id="rId4"/>
    <p:sldLayoutId id="2147483773" r:id="rId5"/>
    <p:sldLayoutId id="2147483775" r:id="rId6"/>
    <p:sldLayoutId id="2147483776" r:id="rId7"/>
    <p:sldLayoutId id="2147483777" r:id="rId8"/>
    <p:sldLayoutId id="2147483757" r:id="rId9"/>
    <p:sldLayoutId id="2147483758" r:id="rId10"/>
    <p:sldLayoutId id="2147483759" r:id="rId11"/>
    <p:sldLayoutId id="2147483760" r:id="rId12"/>
    <p:sldLayoutId id="2147483761" r:id="rId13"/>
    <p:sldLayoutId id="2147483762" r:id="rId14"/>
    <p:sldLayoutId id="2147483763" r:id="rId15"/>
    <p:sldLayoutId id="2147483764" r:id="rId16"/>
    <p:sldLayoutId id="2147483765" r:id="rId17"/>
    <p:sldLayoutId id="2147483766" r:id="rId18"/>
    <p:sldLayoutId id="2147483767" r:id="rId19"/>
    <p:sldLayoutId id="2147483768" r:id="rId20"/>
    <p:sldLayoutId id="2147483769" r:id="rId21"/>
    <p:sldLayoutId id="2147483770" r:id="rId22"/>
    <p:sldLayoutId id="2147483771" r:id="rId23"/>
  </p:sldLayoutIdLst>
  <p:hf hdr="0" ftr="0" dt="0"/>
  <p:txStyles>
    <p:titleStyle>
      <a:lvl1pPr algn="l" defTabSz="685800" rtl="0" eaLnBrk="1" latinLnBrk="0" hangingPunct="1">
        <a:lnSpc>
          <a:spcPct val="95000"/>
        </a:lnSpc>
        <a:spcBef>
          <a:spcPct val="0"/>
        </a:spcBef>
        <a:buNone/>
        <a:defRPr sz="2400" b="1" kern="1200" spc="-7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100000"/>
        </a:lnSpc>
        <a:spcBef>
          <a:spcPts val="9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58775" indent="-179388" algn="l" defTabSz="6858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4988" indent="-176213" algn="l" defTabSz="685800" rtl="0" eaLnBrk="1" latinLnBrk="0" hangingPunct="1">
        <a:lnSpc>
          <a:spcPct val="100000"/>
        </a:lnSpc>
        <a:spcBef>
          <a:spcPts val="300"/>
        </a:spcBef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4375" indent="-179388" algn="l" defTabSz="685800" rtl="0" eaLnBrk="1" latinLnBrk="0" hangingPunct="1">
        <a:lnSpc>
          <a:spcPct val="100000"/>
        </a:lnSpc>
        <a:spcBef>
          <a:spcPts val="300"/>
        </a:spcBef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89000" indent="-174625" algn="l" defTabSz="685800" rtl="0" eaLnBrk="1" latinLnBrk="0" hangingPunct="1">
        <a:lnSpc>
          <a:spcPct val="100000"/>
        </a:lnSpc>
        <a:spcBef>
          <a:spcPts val="300"/>
        </a:spcBef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113">
          <p15:clr>
            <a:srgbClr val="F26B43"/>
          </p15:clr>
        </p15:guide>
        <p15:guide id="4" pos="5647">
          <p15:clr>
            <a:srgbClr val="F26B43"/>
          </p15:clr>
        </p15:guide>
        <p15:guide id="5" orient="horz" pos="100">
          <p15:clr>
            <a:srgbClr val="F26B43"/>
          </p15:clr>
        </p15:guide>
        <p15:guide id="6" orient="horz" pos="3049">
          <p15:clr>
            <a:srgbClr val="F26B43"/>
          </p15:clr>
        </p15:guide>
        <p15:guide id="7" pos="2925">
          <p15:clr>
            <a:srgbClr val="547EBF"/>
          </p15:clr>
        </p15:guide>
        <p15:guide id="8" pos="2835">
          <p15:clr>
            <a:srgbClr val="547EBF"/>
          </p15:clr>
        </p15:guide>
        <p15:guide id="9" pos="204">
          <p15:clr>
            <a:srgbClr val="547EBF"/>
          </p15:clr>
        </p15:guide>
        <p15:guide id="10" pos="5556">
          <p15:clr>
            <a:srgbClr val="547EBF"/>
          </p15:clr>
        </p15:guide>
        <p15:guide id="11" orient="horz" pos="169">
          <p15:clr>
            <a:srgbClr val="547EBF"/>
          </p15:clr>
        </p15:guide>
        <p15:guide id="12" orient="horz" pos="2958">
          <p15:clr>
            <a:srgbClr val="547EBF"/>
          </p15:clr>
        </p15:guide>
        <p15:guide id="16" pos="1111">
          <p15:clr>
            <a:srgbClr val="547EBF"/>
          </p15:clr>
        </p15:guide>
        <p15:guide id="17" pos="1927">
          <p15:clr>
            <a:srgbClr val="547EBF"/>
          </p15:clr>
        </p15:guide>
        <p15:guide id="18" pos="2018">
          <p15:clr>
            <a:srgbClr val="547EBF"/>
          </p15:clr>
        </p15:guide>
        <p15:guide id="19" pos="3742">
          <p15:clr>
            <a:srgbClr val="547EBF"/>
          </p15:clr>
        </p15:guide>
        <p15:guide id="20" pos="3833">
          <p15:clr>
            <a:srgbClr val="547EBF"/>
          </p15:clr>
        </p15:guide>
        <p15:guide id="21" pos="4649">
          <p15:clr>
            <a:srgbClr val="547EBF"/>
          </p15:clr>
        </p15:guide>
        <p15:guide id="22" pos="4740">
          <p15:clr>
            <a:srgbClr val="547EBF"/>
          </p15:clr>
        </p15:guide>
        <p15:guide id="24" pos="1020">
          <p15:clr>
            <a:srgbClr val="547EBF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BA8D6B96-B929-70AF-C345-AC63849A70A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15440987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9" imgW="277" imgH="277" progId="TCLayout.ActiveDocument.1">
                  <p:embed/>
                </p:oleObj>
              </mc:Choice>
              <mc:Fallback>
                <p:oleObj name="think-cell Folie" r:id="rId29" imgW="277" imgH="277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BA8D6B96-B929-70AF-C345-AC63849A70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Frihandsfigur 38">
            <a:extLst>
              <a:ext uri="{FF2B5EF4-FFF2-40B4-BE49-F238E27FC236}">
                <a16:creationId xmlns:a16="http://schemas.microsoft.com/office/drawing/2014/main" id="{E1BCAB34-53D3-7A48-9E69-B9D2FB9E2C35}"/>
              </a:ext>
            </a:extLst>
          </p:cNvPr>
          <p:cNvSpPr/>
          <p:nvPr userDrawn="1"/>
        </p:nvSpPr>
        <p:spPr>
          <a:xfrm rot="5400000">
            <a:off x="2000250" y="-2000250"/>
            <a:ext cx="5143500" cy="9144000"/>
          </a:xfrm>
          <a:custGeom>
            <a:avLst/>
            <a:gdLst>
              <a:gd name="connsiteX0" fmla="*/ 158750 w 5143500"/>
              <a:gd name="connsiteY0" fmla="*/ 8964612 h 9144000"/>
              <a:gd name="connsiteX1" fmla="*/ 4840289 w 5143500"/>
              <a:gd name="connsiteY1" fmla="*/ 8964612 h 9144000"/>
              <a:gd name="connsiteX2" fmla="*/ 4840289 w 5143500"/>
              <a:gd name="connsiteY2" fmla="*/ 179389 h 9144000"/>
              <a:gd name="connsiteX3" fmla="*/ 158750 w 5143500"/>
              <a:gd name="connsiteY3" fmla="*/ 179389 h 9144000"/>
              <a:gd name="connsiteX4" fmla="*/ 0 w 5143500"/>
              <a:gd name="connsiteY4" fmla="*/ 179389 h 9144000"/>
              <a:gd name="connsiteX5" fmla="*/ 0 w 5143500"/>
              <a:gd name="connsiteY5" fmla="*/ 0 h 9144000"/>
              <a:gd name="connsiteX6" fmla="*/ 5143500 w 5143500"/>
              <a:gd name="connsiteY6" fmla="*/ 0 h 9144000"/>
              <a:gd name="connsiteX7" fmla="*/ 5143500 w 5143500"/>
              <a:gd name="connsiteY7" fmla="*/ 25398 h 9144000"/>
              <a:gd name="connsiteX8" fmla="*/ 5143500 w 5143500"/>
              <a:gd name="connsiteY8" fmla="*/ 25398 h 9144000"/>
              <a:gd name="connsiteX9" fmla="*/ 5143500 w 5143500"/>
              <a:gd name="connsiteY9" fmla="*/ 9033715 h 9144000"/>
              <a:gd name="connsiteX10" fmla="*/ 5143499 w 5143500"/>
              <a:gd name="connsiteY10" fmla="*/ 9033715 h 9144000"/>
              <a:gd name="connsiteX11" fmla="*/ 5143499 w 5143500"/>
              <a:gd name="connsiteY11" fmla="*/ 9144000 h 9144000"/>
              <a:gd name="connsiteX12" fmla="*/ 0 w 5143500"/>
              <a:gd name="connsiteY12" fmla="*/ 9144000 h 9144000"/>
              <a:gd name="connsiteX13" fmla="*/ 0 w 5143500"/>
              <a:gd name="connsiteY13" fmla="*/ 9033714 h 9144000"/>
              <a:gd name="connsiteX14" fmla="*/ 0 w 5143500"/>
              <a:gd name="connsiteY14" fmla="*/ 9033714 h 9144000"/>
              <a:gd name="connsiteX15" fmla="*/ 0 w 5143500"/>
              <a:gd name="connsiteY15" fmla="*/ 179389 h 91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5143500" h="9144000">
                <a:moveTo>
                  <a:pt x="158750" y="8964612"/>
                </a:moveTo>
                <a:lnTo>
                  <a:pt x="4840289" y="8964612"/>
                </a:lnTo>
                <a:lnTo>
                  <a:pt x="4840289" y="179389"/>
                </a:lnTo>
                <a:lnTo>
                  <a:pt x="158750" y="179389"/>
                </a:lnTo>
                <a:close/>
                <a:moveTo>
                  <a:pt x="0" y="179389"/>
                </a:moveTo>
                <a:lnTo>
                  <a:pt x="0" y="0"/>
                </a:lnTo>
                <a:lnTo>
                  <a:pt x="5143500" y="0"/>
                </a:lnTo>
                <a:lnTo>
                  <a:pt x="5143500" y="25398"/>
                </a:lnTo>
                <a:lnTo>
                  <a:pt x="5143500" y="25398"/>
                </a:lnTo>
                <a:lnTo>
                  <a:pt x="5143500" y="9033715"/>
                </a:lnTo>
                <a:lnTo>
                  <a:pt x="5143499" y="9033715"/>
                </a:lnTo>
                <a:lnTo>
                  <a:pt x="5143499" y="9144000"/>
                </a:lnTo>
                <a:lnTo>
                  <a:pt x="0" y="9144000"/>
                </a:lnTo>
                <a:lnTo>
                  <a:pt x="0" y="9033714"/>
                </a:lnTo>
                <a:lnTo>
                  <a:pt x="0" y="9033714"/>
                </a:lnTo>
                <a:lnTo>
                  <a:pt x="0" y="17938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/>
          </a:p>
        </p:txBody>
      </p:sp>
      <p:grpSp>
        <p:nvGrpSpPr>
          <p:cNvPr id="5" name="Logo">
            <a:extLst>
              <a:ext uri="{FF2B5EF4-FFF2-40B4-BE49-F238E27FC236}">
                <a16:creationId xmlns:a16="http://schemas.microsoft.com/office/drawing/2014/main" id="{133EFDB0-08D2-CA41-9A6F-D93000386FD2}"/>
              </a:ext>
            </a:extLst>
          </p:cNvPr>
          <p:cNvGrpSpPr/>
          <p:nvPr userDrawn="1"/>
        </p:nvGrpSpPr>
        <p:grpSpPr>
          <a:xfrm>
            <a:off x="4085649" y="4917137"/>
            <a:ext cx="972702" cy="148746"/>
            <a:chOff x="4085649" y="4917137"/>
            <a:chExt cx="972702" cy="148746"/>
          </a:xfrm>
        </p:grpSpPr>
        <p:sp>
          <p:nvSpPr>
            <p:cNvPr id="25" name="Frihandsfigur 24">
              <a:extLst>
                <a:ext uri="{FF2B5EF4-FFF2-40B4-BE49-F238E27FC236}">
                  <a16:creationId xmlns:a16="http://schemas.microsoft.com/office/drawing/2014/main" id="{D0B20966-557B-FD4C-AEFD-237DB58109CE}"/>
                </a:ext>
              </a:extLst>
            </p:cNvPr>
            <p:cNvSpPr/>
            <p:nvPr/>
          </p:nvSpPr>
          <p:spPr>
            <a:xfrm>
              <a:off x="4909411" y="4917137"/>
              <a:ext cx="148940" cy="74384"/>
            </a:xfrm>
            <a:custGeom>
              <a:avLst/>
              <a:gdLst>
                <a:gd name="connsiteX0" fmla="*/ 108621 w 217242"/>
                <a:gd name="connsiteY0" fmla="*/ 0 h 108497"/>
                <a:gd name="connsiteX1" fmla="*/ 0 w 217242"/>
                <a:gd name="connsiteY1" fmla="*/ 108498 h 108497"/>
                <a:gd name="connsiteX2" fmla="*/ 217243 w 217242"/>
                <a:gd name="connsiteY2" fmla="*/ 108498 h 108497"/>
                <a:gd name="connsiteX3" fmla="*/ 108650 w 217242"/>
                <a:gd name="connsiteY3" fmla="*/ 0 h 108497"/>
                <a:gd name="connsiteX4" fmla="*/ 108621 w 217242"/>
                <a:gd name="connsiteY4" fmla="*/ 0 h 1084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7242" h="108497">
                  <a:moveTo>
                    <a:pt x="108621" y="0"/>
                  </a:moveTo>
                  <a:cubicBezTo>
                    <a:pt x="48632" y="0"/>
                    <a:pt x="0" y="48576"/>
                    <a:pt x="0" y="108498"/>
                  </a:cubicBezTo>
                  <a:lnTo>
                    <a:pt x="217243" y="108498"/>
                  </a:lnTo>
                  <a:cubicBezTo>
                    <a:pt x="217257" y="48584"/>
                    <a:pt x="168632" y="8"/>
                    <a:pt x="108650" y="0"/>
                  </a:cubicBezTo>
                  <a:cubicBezTo>
                    <a:pt x="108640" y="0"/>
                    <a:pt x="108631" y="0"/>
                    <a:pt x="108621" y="0"/>
                  </a:cubicBezTo>
                  <a:close/>
                </a:path>
              </a:pathLst>
            </a:custGeom>
            <a:solidFill>
              <a:srgbClr val="FFDA00"/>
            </a:solidFill>
            <a:ln w="140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noProof="0"/>
            </a:p>
          </p:txBody>
        </p:sp>
        <p:sp>
          <p:nvSpPr>
            <p:cNvPr id="26" name="Frihandsfigur 25">
              <a:extLst>
                <a:ext uri="{FF2B5EF4-FFF2-40B4-BE49-F238E27FC236}">
                  <a16:creationId xmlns:a16="http://schemas.microsoft.com/office/drawing/2014/main" id="{971B17A3-E306-2242-BA24-C3FEA7450426}"/>
                </a:ext>
              </a:extLst>
            </p:cNvPr>
            <p:cNvSpPr/>
            <p:nvPr/>
          </p:nvSpPr>
          <p:spPr>
            <a:xfrm>
              <a:off x="4909411" y="4991508"/>
              <a:ext cx="148940" cy="74375"/>
            </a:xfrm>
            <a:custGeom>
              <a:avLst/>
              <a:gdLst>
                <a:gd name="connsiteX0" fmla="*/ 108621 w 217242"/>
                <a:gd name="connsiteY0" fmla="*/ 108484 h 108483"/>
                <a:gd name="connsiteX1" fmla="*/ 0 w 217242"/>
                <a:gd name="connsiteY1" fmla="*/ 0 h 108483"/>
                <a:gd name="connsiteX2" fmla="*/ 217243 w 217242"/>
                <a:gd name="connsiteY2" fmla="*/ 0 h 108483"/>
                <a:gd name="connsiteX3" fmla="*/ 108636 w 217242"/>
                <a:gd name="connsiteY3" fmla="*/ 108484 h 108483"/>
                <a:gd name="connsiteX4" fmla="*/ 108621 w 217242"/>
                <a:gd name="connsiteY4" fmla="*/ 108484 h 108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7242" h="108483">
                  <a:moveTo>
                    <a:pt x="108621" y="108484"/>
                  </a:moveTo>
                  <a:cubicBezTo>
                    <a:pt x="48637" y="108484"/>
                    <a:pt x="7" y="59916"/>
                    <a:pt x="0" y="0"/>
                  </a:cubicBezTo>
                  <a:lnTo>
                    <a:pt x="217243" y="0"/>
                  </a:lnTo>
                  <a:cubicBezTo>
                    <a:pt x="217243" y="59914"/>
                    <a:pt x="168618" y="108484"/>
                    <a:pt x="108636" y="108484"/>
                  </a:cubicBezTo>
                  <a:cubicBezTo>
                    <a:pt x="108631" y="108484"/>
                    <a:pt x="108626" y="108484"/>
                    <a:pt x="108621" y="108484"/>
                  </a:cubicBezTo>
                  <a:close/>
                </a:path>
              </a:pathLst>
            </a:custGeom>
            <a:solidFill>
              <a:srgbClr val="2071B5"/>
            </a:solidFill>
            <a:ln w="140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noProof="0"/>
            </a:p>
          </p:txBody>
        </p:sp>
        <p:sp>
          <p:nvSpPr>
            <p:cNvPr id="22" name="Frihandsfigur 21">
              <a:extLst>
                <a:ext uri="{FF2B5EF4-FFF2-40B4-BE49-F238E27FC236}">
                  <a16:creationId xmlns:a16="http://schemas.microsoft.com/office/drawing/2014/main" id="{FEBDF823-A994-7046-B9A0-22F15D3F33C3}"/>
                </a:ext>
              </a:extLst>
            </p:cNvPr>
            <p:cNvSpPr/>
            <p:nvPr/>
          </p:nvSpPr>
          <p:spPr>
            <a:xfrm>
              <a:off x="4085649" y="4951310"/>
              <a:ext cx="781273" cy="84934"/>
            </a:xfrm>
            <a:custGeom>
              <a:avLst/>
              <a:gdLst>
                <a:gd name="connsiteX0" fmla="*/ 595123 w 781273"/>
                <a:gd name="connsiteY0" fmla="*/ 23454 h 84934"/>
                <a:gd name="connsiteX1" fmla="*/ 583493 w 781273"/>
                <a:gd name="connsiteY1" fmla="*/ 52452 h 84934"/>
                <a:gd name="connsiteX2" fmla="*/ 606935 w 781273"/>
                <a:gd name="connsiteY2" fmla="*/ 52442 h 84934"/>
                <a:gd name="connsiteX3" fmla="*/ 595267 w 781273"/>
                <a:gd name="connsiteY3" fmla="*/ 23454 h 84934"/>
                <a:gd name="connsiteX4" fmla="*/ 123589 w 781273"/>
                <a:gd name="connsiteY4" fmla="*/ 23454 h 84934"/>
                <a:gd name="connsiteX5" fmla="*/ 111959 w 781273"/>
                <a:gd name="connsiteY5" fmla="*/ 52452 h 84934"/>
                <a:gd name="connsiteX6" fmla="*/ 135363 w 781273"/>
                <a:gd name="connsiteY6" fmla="*/ 52442 h 84934"/>
                <a:gd name="connsiteX7" fmla="*/ 123734 w 781273"/>
                <a:gd name="connsiteY7" fmla="*/ 23454 h 84934"/>
                <a:gd name="connsiteX8" fmla="*/ 584293 w 781273"/>
                <a:gd name="connsiteY8" fmla="*/ 48 h 84934"/>
                <a:gd name="connsiteX9" fmla="*/ 606136 w 781273"/>
                <a:gd name="connsiteY9" fmla="*/ 48 h 84934"/>
                <a:gd name="connsiteX10" fmla="*/ 641516 w 781273"/>
                <a:gd name="connsiteY10" fmla="*/ 84886 h 84934"/>
                <a:gd name="connsiteX11" fmla="*/ 620001 w 781273"/>
                <a:gd name="connsiteY11" fmla="*/ 84886 h 84934"/>
                <a:gd name="connsiteX12" fmla="*/ 613892 w 781273"/>
                <a:gd name="connsiteY12" fmla="*/ 69775 h 84934"/>
                <a:gd name="connsiteX13" fmla="*/ 576488 w 781273"/>
                <a:gd name="connsiteY13" fmla="*/ 69775 h 84934"/>
                <a:gd name="connsiteX14" fmla="*/ 570389 w 781273"/>
                <a:gd name="connsiteY14" fmla="*/ 84934 h 84934"/>
                <a:gd name="connsiteX15" fmla="*/ 548864 w 781273"/>
                <a:gd name="connsiteY15" fmla="*/ 84934 h 84934"/>
                <a:gd name="connsiteX16" fmla="*/ 112712 w 781273"/>
                <a:gd name="connsiteY16" fmla="*/ 48 h 84934"/>
                <a:gd name="connsiteX17" fmla="*/ 134515 w 781273"/>
                <a:gd name="connsiteY17" fmla="*/ 48 h 84934"/>
                <a:gd name="connsiteX18" fmla="*/ 169992 w 781273"/>
                <a:gd name="connsiteY18" fmla="*/ 84886 h 84934"/>
                <a:gd name="connsiteX19" fmla="*/ 148467 w 781273"/>
                <a:gd name="connsiteY19" fmla="*/ 84886 h 84934"/>
                <a:gd name="connsiteX20" fmla="*/ 142320 w 781273"/>
                <a:gd name="connsiteY20" fmla="*/ 69775 h 84934"/>
                <a:gd name="connsiteX21" fmla="*/ 104917 w 781273"/>
                <a:gd name="connsiteY21" fmla="*/ 69775 h 84934"/>
                <a:gd name="connsiteX22" fmla="*/ 98808 w 781273"/>
                <a:gd name="connsiteY22" fmla="*/ 84934 h 84934"/>
                <a:gd name="connsiteX23" fmla="*/ 77293 w 781273"/>
                <a:gd name="connsiteY23" fmla="*/ 84934 h 84934"/>
                <a:gd name="connsiteX24" fmla="*/ 719820 w 781273"/>
                <a:gd name="connsiteY24" fmla="*/ 0 h 84934"/>
                <a:gd name="connsiteX25" fmla="*/ 742077 w 781273"/>
                <a:gd name="connsiteY25" fmla="*/ 0 h 84934"/>
                <a:gd name="connsiteX26" fmla="*/ 742077 w 781273"/>
                <a:gd name="connsiteY26" fmla="*/ 66042 h 84934"/>
                <a:gd name="connsiteX27" fmla="*/ 781273 w 781273"/>
                <a:gd name="connsiteY27" fmla="*/ 66042 h 84934"/>
                <a:gd name="connsiteX28" fmla="*/ 781273 w 781273"/>
                <a:gd name="connsiteY28" fmla="*/ 84886 h 84934"/>
                <a:gd name="connsiteX29" fmla="*/ 719820 w 781273"/>
                <a:gd name="connsiteY29" fmla="*/ 84886 h 84934"/>
                <a:gd name="connsiteX30" fmla="*/ 648751 w 781273"/>
                <a:gd name="connsiteY30" fmla="*/ 0 h 84934"/>
                <a:gd name="connsiteX31" fmla="*/ 671018 w 781273"/>
                <a:gd name="connsiteY31" fmla="*/ 0 h 84934"/>
                <a:gd name="connsiteX32" fmla="*/ 671018 w 781273"/>
                <a:gd name="connsiteY32" fmla="*/ 66042 h 84934"/>
                <a:gd name="connsiteX33" fmla="*/ 710214 w 781273"/>
                <a:gd name="connsiteY33" fmla="*/ 66042 h 84934"/>
                <a:gd name="connsiteX34" fmla="*/ 710214 w 781273"/>
                <a:gd name="connsiteY34" fmla="*/ 84886 h 84934"/>
                <a:gd name="connsiteX35" fmla="*/ 648751 w 781273"/>
                <a:gd name="connsiteY35" fmla="*/ 84886 h 84934"/>
                <a:gd name="connsiteX36" fmla="*/ 491429 w 781273"/>
                <a:gd name="connsiteY36" fmla="*/ 0 h 84934"/>
                <a:gd name="connsiteX37" fmla="*/ 556293 w 781273"/>
                <a:gd name="connsiteY37" fmla="*/ 0 h 84934"/>
                <a:gd name="connsiteX38" fmla="*/ 556293 w 781273"/>
                <a:gd name="connsiteY38" fmla="*/ 18190 h 84934"/>
                <a:gd name="connsiteX39" fmla="*/ 513686 w 781273"/>
                <a:gd name="connsiteY39" fmla="*/ 18190 h 84934"/>
                <a:gd name="connsiteX40" fmla="*/ 513686 w 781273"/>
                <a:gd name="connsiteY40" fmla="*/ 32338 h 84934"/>
                <a:gd name="connsiteX41" fmla="*/ 549616 w 781273"/>
                <a:gd name="connsiteY41" fmla="*/ 32338 h 84934"/>
                <a:gd name="connsiteX42" fmla="*/ 549616 w 781273"/>
                <a:gd name="connsiteY42" fmla="*/ 50527 h 84934"/>
                <a:gd name="connsiteX43" fmla="*/ 513686 w 781273"/>
                <a:gd name="connsiteY43" fmla="*/ 50527 h 84934"/>
                <a:gd name="connsiteX44" fmla="*/ 513686 w 781273"/>
                <a:gd name="connsiteY44" fmla="*/ 84886 h 84934"/>
                <a:gd name="connsiteX45" fmla="*/ 491429 w 781273"/>
                <a:gd name="connsiteY45" fmla="*/ 84886 h 84934"/>
                <a:gd name="connsiteX46" fmla="*/ 394124 w 781273"/>
                <a:gd name="connsiteY46" fmla="*/ 0 h 84934"/>
                <a:gd name="connsiteX47" fmla="*/ 415380 w 781273"/>
                <a:gd name="connsiteY47" fmla="*/ 0 h 84934"/>
                <a:gd name="connsiteX48" fmla="*/ 453246 w 781273"/>
                <a:gd name="connsiteY48" fmla="*/ 50797 h 84934"/>
                <a:gd name="connsiteX49" fmla="*/ 453246 w 781273"/>
                <a:gd name="connsiteY49" fmla="*/ 0 h 84934"/>
                <a:gd name="connsiteX50" fmla="*/ 474500 w 781273"/>
                <a:gd name="connsiteY50" fmla="*/ 0 h 84934"/>
                <a:gd name="connsiteX51" fmla="*/ 474500 w 781273"/>
                <a:gd name="connsiteY51" fmla="*/ 84886 h 84934"/>
                <a:gd name="connsiteX52" fmla="*/ 453246 w 781273"/>
                <a:gd name="connsiteY52" fmla="*/ 84886 h 84934"/>
                <a:gd name="connsiteX53" fmla="*/ 415380 w 781273"/>
                <a:gd name="connsiteY53" fmla="*/ 34705 h 84934"/>
                <a:gd name="connsiteX54" fmla="*/ 415380 w 781273"/>
                <a:gd name="connsiteY54" fmla="*/ 84886 h 84934"/>
                <a:gd name="connsiteX55" fmla="*/ 394124 w 781273"/>
                <a:gd name="connsiteY55" fmla="*/ 84886 h 84934"/>
                <a:gd name="connsiteX56" fmla="*/ 315887 w 781273"/>
                <a:gd name="connsiteY56" fmla="*/ 0 h 84934"/>
                <a:gd name="connsiteX57" fmla="*/ 378728 w 781273"/>
                <a:gd name="connsiteY57" fmla="*/ 0 h 84934"/>
                <a:gd name="connsiteX58" fmla="*/ 378728 w 781273"/>
                <a:gd name="connsiteY58" fmla="*/ 18190 h 84934"/>
                <a:gd name="connsiteX59" fmla="*/ 338144 w 781273"/>
                <a:gd name="connsiteY59" fmla="*/ 18190 h 84934"/>
                <a:gd name="connsiteX60" fmla="*/ 338144 w 781273"/>
                <a:gd name="connsiteY60" fmla="*/ 31799 h 84934"/>
                <a:gd name="connsiteX61" fmla="*/ 372542 w 781273"/>
                <a:gd name="connsiteY61" fmla="*/ 31799 h 84934"/>
                <a:gd name="connsiteX62" fmla="*/ 372542 w 781273"/>
                <a:gd name="connsiteY62" fmla="*/ 49988 h 84934"/>
                <a:gd name="connsiteX63" fmla="*/ 338144 w 781273"/>
                <a:gd name="connsiteY63" fmla="*/ 49988 h 84934"/>
                <a:gd name="connsiteX64" fmla="*/ 338144 w 781273"/>
                <a:gd name="connsiteY64" fmla="*/ 66696 h 84934"/>
                <a:gd name="connsiteX65" fmla="*/ 378728 w 781273"/>
                <a:gd name="connsiteY65" fmla="*/ 66696 h 84934"/>
                <a:gd name="connsiteX66" fmla="*/ 378728 w 781273"/>
                <a:gd name="connsiteY66" fmla="*/ 84886 h 84934"/>
                <a:gd name="connsiteX67" fmla="*/ 338144 w 781273"/>
                <a:gd name="connsiteY67" fmla="*/ 84886 h 84934"/>
                <a:gd name="connsiteX68" fmla="*/ 315887 w 781273"/>
                <a:gd name="connsiteY68" fmla="*/ 84886 h 84934"/>
                <a:gd name="connsiteX69" fmla="*/ 235954 w 781273"/>
                <a:gd name="connsiteY69" fmla="*/ 0 h 84934"/>
                <a:gd name="connsiteX70" fmla="*/ 305096 w 781273"/>
                <a:gd name="connsiteY70" fmla="*/ 0 h 84934"/>
                <a:gd name="connsiteX71" fmla="*/ 305096 w 781273"/>
                <a:gd name="connsiteY71" fmla="*/ 18190 h 84934"/>
                <a:gd name="connsiteX72" fmla="*/ 280468 w 781273"/>
                <a:gd name="connsiteY72" fmla="*/ 18190 h 84934"/>
                <a:gd name="connsiteX73" fmla="*/ 280468 w 781273"/>
                <a:gd name="connsiteY73" fmla="*/ 84886 h 84934"/>
                <a:gd name="connsiteX74" fmla="*/ 258211 w 781273"/>
                <a:gd name="connsiteY74" fmla="*/ 84886 h 84934"/>
                <a:gd name="connsiteX75" fmla="*/ 258211 w 781273"/>
                <a:gd name="connsiteY75" fmla="*/ 18190 h 84934"/>
                <a:gd name="connsiteX76" fmla="*/ 235954 w 781273"/>
                <a:gd name="connsiteY76" fmla="*/ 18190 h 84934"/>
                <a:gd name="connsiteX77" fmla="*/ 159066 w 781273"/>
                <a:gd name="connsiteY77" fmla="*/ 0 h 84934"/>
                <a:gd name="connsiteX78" fmla="*/ 228198 w 781273"/>
                <a:gd name="connsiteY78" fmla="*/ 0 h 84934"/>
                <a:gd name="connsiteX79" fmla="*/ 228198 w 781273"/>
                <a:gd name="connsiteY79" fmla="*/ 18190 h 84934"/>
                <a:gd name="connsiteX80" fmla="*/ 205941 w 781273"/>
                <a:gd name="connsiteY80" fmla="*/ 18190 h 84934"/>
                <a:gd name="connsiteX81" fmla="*/ 205941 w 781273"/>
                <a:gd name="connsiteY81" fmla="*/ 84886 h 84934"/>
                <a:gd name="connsiteX82" fmla="*/ 183684 w 781273"/>
                <a:gd name="connsiteY82" fmla="*/ 84886 h 84934"/>
                <a:gd name="connsiteX83" fmla="*/ 183684 w 781273"/>
                <a:gd name="connsiteY83" fmla="*/ 18190 h 84934"/>
                <a:gd name="connsiteX84" fmla="*/ 159066 w 781273"/>
                <a:gd name="connsiteY84" fmla="*/ 18190 h 84934"/>
                <a:gd name="connsiteX85" fmla="*/ 0 w 781273"/>
                <a:gd name="connsiteY85" fmla="*/ 0 h 84934"/>
                <a:gd name="connsiteX86" fmla="*/ 21525 w 781273"/>
                <a:gd name="connsiteY86" fmla="*/ 0 h 84934"/>
                <a:gd name="connsiteX87" fmla="*/ 45728 w 781273"/>
                <a:gd name="connsiteY87" fmla="*/ 59680 h 84934"/>
                <a:gd name="connsiteX88" fmla="*/ 45911 w 781273"/>
                <a:gd name="connsiteY88" fmla="*/ 59680 h 84934"/>
                <a:gd name="connsiteX89" fmla="*/ 70124 w 781273"/>
                <a:gd name="connsiteY89" fmla="*/ 0 h 84934"/>
                <a:gd name="connsiteX90" fmla="*/ 91639 w 781273"/>
                <a:gd name="connsiteY90" fmla="*/ 0 h 84934"/>
                <a:gd name="connsiteX91" fmla="*/ 56780 w 781273"/>
                <a:gd name="connsiteY91" fmla="*/ 84886 h 84934"/>
                <a:gd name="connsiteX92" fmla="*/ 34859 w 781273"/>
                <a:gd name="connsiteY92" fmla="*/ 84886 h 84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</a:cxnLst>
              <a:rect l="l" t="t" r="r" b="b"/>
              <a:pathLst>
                <a:path w="781273" h="84934">
                  <a:moveTo>
                    <a:pt x="595123" y="23454"/>
                  </a:moveTo>
                  <a:lnTo>
                    <a:pt x="583493" y="52452"/>
                  </a:lnTo>
                  <a:lnTo>
                    <a:pt x="606935" y="52442"/>
                  </a:lnTo>
                  <a:lnTo>
                    <a:pt x="595267" y="23454"/>
                  </a:lnTo>
                  <a:close/>
                  <a:moveTo>
                    <a:pt x="123589" y="23454"/>
                  </a:moveTo>
                  <a:lnTo>
                    <a:pt x="111959" y="52452"/>
                  </a:lnTo>
                  <a:lnTo>
                    <a:pt x="135363" y="52442"/>
                  </a:lnTo>
                  <a:lnTo>
                    <a:pt x="123734" y="23454"/>
                  </a:lnTo>
                  <a:close/>
                  <a:moveTo>
                    <a:pt x="584293" y="48"/>
                  </a:moveTo>
                  <a:lnTo>
                    <a:pt x="606136" y="48"/>
                  </a:lnTo>
                  <a:lnTo>
                    <a:pt x="641516" y="84886"/>
                  </a:lnTo>
                  <a:lnTo>
                    <a:pt x="620001" y="84886"/>
                  </a:lnTo>
                  <a:lnTo>
                    <a:pt x="613892" y="69775"/>
                  </a:lnTo>
                  <a:lnTo>
                    <a:pt x="576488" y="69775"/>
                  </a:lnTo>
                  <a:lnTo>
                    <a:pt x="570389" y="84934"/>
                  </a:lnTo>
                  <a:lnTo>
                    <a:pt x="548864" y="84934"/>
                  </a:lnTo>
                  <a:close/>
                  <a:moveTo>
                    <a:pt x="112712" y="48"/>
                  </a:moveTo>
                  <a:lnTo>
                    <a:pt x="134515" y="48"/>
                  </a:lnTo>
                  <a:lnTo>
                    <a:pt x="169992" y="84886"/>
                  </a:lnTo>
                  <a:lnTo>
                    <a:pt x="148467" y="84886"/>
                  </a:lnTo>
                  <a:lnTo>
                    <a:pt x="142320" y="69775"/>
                  </a:lnTo>
                  <a:lnTo>
                    <a:pt x="104917" y="69775"/>
                  </a:lnTo>
                  <a:lnTo>
                    <a:pt x="98808" y="84934"/>
                  </a:lnTo>
                  <a:lnTo>
                    <a:pt x="77293" y="84934"/>
                  </a:lnTo>
                  <a:close/>
                  <a:moveTo>
                    <a:pt x="719820" y="0"/>
                  </a:moveTo>
                  <a:lnTo>
                    <a:pt x="742077" y="0"/>
                  </a:lnTo>
                  <a:lnTo>
                    <a:pt x="742077" y="66042"/>
                  </a:lnTo>
                  <a:lnTo>
                    <a:pt x="781273" y="66042"/>
                  </a:lnTo>
                  <a:lnTo>
                    <a:pt x="781273" y="84886"/>
                  </a:lnTo>
                  <a:lnTo>
                    <a:pt x="719820" y="84886"/>
                  </a:lnTo>
                  <a:close/>
                  <a:moveTo>
                    <a:pt x="648751" y="0"/>
                  </a:moveTo>
                  <a:lnTo>
                    <a:pt x="671018" y="0"/>
                  </a:lnTo>
                  <a:lnTo>
                    <a:pt x="671018" y="66042"/>
                  </a:lnTo>
                  <a:lnTo>
                    <a:pt x="710214" y="66042"/>
                  </a:lnTo>
                  <a:lnTo>
                    <a:pt x="710214" y="84886"/>
                  </a:lnTo>
                  <a:lnTo>
                    <a:pt x="648751" y="84886"/>
                  </a:lnTo>
                  <a:close/>
                  <a:moveTo>
                    <a:pt x="491429" y="0"/>
                  </a:moveTo>
                  <a:lnTo>
                    <a:pt x="556293" y="0"/>
                  </a:lnTo>
                  <a:lnTo>
                    <a:pt x="556293" y="18190"/>
                  </a:lnTo>
                  <a:lnTo>
                    <a:pt x="513686" y="18190"/>
                  </a:lnTo>
                  <a:lnTo>
                    <a:pt x="513686" y="32338"/>
                  </a:lnTo>
                  <a:lnTo>
                    <a:pt x="549616" y="32338"/>
                  </a:lnTo>
                  <a:lnTo>
                    <a:pt x="549616" y="50527"/>
                  </a:lnTo>
                  <a:lnTo>
                    <a:pt x="513686" y="50527"/>
                  </a:lnTo>
                  <a:lnTo>
                    <a:pt x="513686" y="84886"/>
                  </a:lnTo>
                  <a:lnTo>
                    <a:pt x="491429" y="84886"/>
                  </a:lnTo>
                  <a:close/>
                  <a:moveTo>
                    <a:pt x="394124" y="0"/>
                  </a:moveTo>
                  <a:lnTo>
                    <a:pt x="415380" y="0"/>
                  </a:lnTo>
                  <a:lnTo>
                    <a:pt x="453246" y="50797"/>
                  </a:lnTo>
                  <a:lnTo>
                    <a:pt x="453246" y="0"/>
                  </a:lnTo>
                  <a:lnTo>
                    <a:pt x="474500" y="0"/>
                  </a:lnTo>
                  <a:lnTo>
                    <a:pt x="474500" y="84886"/>
                  </a:lnTo>
                  <a:lnTo>
                    <a:pt x="453246" y="84886"/>
                  </a:lnTo>
                  <a:lnTo>
                    <a:pt x="415380" y="34705"/>
                  </a:lnTo>
                  <a:lnTo>
                    <a:pt x="415380" y="84886"/>
                  </a:lnTo>
                  <a:lnTo>
                    <a:pt x="394124" y="84886"/>
                  </a:lnTo>
                  <a:close/>
                  <a:moveTo>
                    <a:pt x="315887" y="0"/>
                  </a:moveTo>
                  <a:lnTo>
                    <a:pt x="378728" y="0"/>
                  </a:lnTo>
                  <a:lnTo>
                    <a:pt x="378728" y="18190"/>
                  </a:lnTo>
                  <a:lnTo>
                    <a:pt x="338144" y="18190"/>
                  </a:lnTo>
                  <a:lnTo>
                    <a:pt x="338144" y="31799"/>
                  </a:lnTo>
                  <a:lnTo>
                    <a:pt x="372542" y="31799"/>
                  </a:lnTo>
                  <a:lnTo>
                    <a:pt x="372542" y="49988"/>
                  </a:lnTo>
                  <a:lnTo>
                    <a:pt x="338144" y="49988"/>
                  </a:lnTo>
                  <a:lnTo>
                    <a:pt x="338144" y="66696"/>
                  </a:lnTo>
                  <a:lnTo>
                    <a:pt x="378728" y="66696"/>
                  </a:lnTo>
                  <a:lnTo>
                    <a:pt x="378728" y="84886"/>
                  </a:lnTo>
                  <a:lnTo>
                    <a:pt x="338144" y="84886"/>
                  </a:lnTo>
                  <a:lnTo>
                    <a:pt x="315887" y="84886"/>
                  </a:lnTo>
                  <a:close/>
                  <a:moveTo>
                    <a:pt x="235954" y="0"/>
                  </a:moveTo>
                  <a:lnTo>
                    <a:pt x="305096" y="0"/>
                  </a:lnTo>
                  <a:lnTo>
                    <a:pt x="305096" y="18190"/>
                  </a:lnTo>
                  <a:lnTo>
                    <a:pt x="280468" y="18190"/>
                  </a:lnTo>
                  <a:lnTo>
                    <a:pt x="280468" y="84886"/>
                  </a:lnTo>
                  <a:lnTo>
                    <a:pt x="258211" y="84886"/>
                  </a:lnTo>
                  <a:lnTo>
                    <a:pt x="258211" y="18190"/>
                  </a:lnTo>
                  <a:lnTo>
                    <a:pt x="235954" y="18190"/>
                  </a:lnTo>
                  <a:close/>
                  <a:moveTo>
                    <a:pt x="159066" y="0"/>
                  </a:moveTo>
                  <a:lnTo>
                    <a:pt x="228198" y="0"/>
                  </a:lnTo>
                  <a:lnTo>
                    <a:pt x="228198" y="18190"/>
                  </a:lnTo>
                  <a:lnTo>
                    <a:pt x="205941" y="18190"/>
                  </a:lnTo>
                  <a:lnTo>
                    <a:pt x="205941" y="84886"/>
                  </a:lnTo>
                  <a:lnTo>
                    <a:pt x="183684" y="84886"/>
                  </a:lnTo>
                  <a:lnTo>
                    <a:pt x="183684" y="18190"/>
                  </a:lnTo>
                  <a:lnTo>
                    <a:pt x="159066" y="18190"/>
                  </a:lnTo>
                  <a:close/>
                  <a:moveTo>
                    <a:pt x="0" y="0"/>
                  </a:moveTo>
                  <a:lnTo>
                    <a:pt x="21525" y="0"/>
                  </a:lnTo>
                  <a:lnTo>
                    <a:pt x="45728" y="59680"/>
                  </a:lnTo>
                  <a:lnTo>
                    <a:pt x="45911" y="59680"/>
                  </a:lnTo>
                  <a:lnTo>
                    <a:pt x="70124" y="0"/>
                  </a:lnTo>
                  <a:lnTo>
                    <a:pt x="91639" y="0"/>
                  </a:lnTo>
                  <a:lnTo>
                    <a:pt x="56780" y="84886"/>
                  </a:lnTo>
                  <a:lnTo>
                    <a:pt x="34859" y="84886"/>
                  </a:lnTo>
                  <a:close/>
                </a:path>
              </a:pathLst>
            </a:custGeom>
            <a:solidFill>
              <a:srgbClr val="4E4B48"/>
            </a:solidFill>
            <a:ln w="1400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rtl="0"/>
              <a:endParaRPr lang="en-US" noProof="0"/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23850" y="525600"/>
            <a:ext cx="8496300" cy="156097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noProof="0"/>
              <a:t>Click to edit Master title slid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3850" y="2103438"/>
            <a:ext cx="8496300" cy="2613680"/>
          </a:xfrm>
          <a:prstGeom prst="rect">
            <a:avLst/>
          </a:prstGeom>
        </p:spPr>
        <p:txBody>
          <a:bodyPr vert="horz" lIns="90000" tIns="45720" rIns="90000" bIns="45720" rtlCol="0">
            <a:noAutofit/>
          </a:bodyPr>
          <a:lstStyle/>
          <a:p>
            <a:pPr lvl="0"/>
            <a:r>
              <a:rPr lang="en-US" noProof="0"/>
              <a:t>Click to edit Master text slid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10287" y="4901296"/>
            <a:ext cx="2948826" cy="1152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 rtl="0">
              <a:defRPr sz="600" b="0">
                <a:solidFill>
                  <a:srgbClr val="737373"/>
                </a:solidFill>
              </a:defRPr>
            </a:lvl1pPr>
          </a:lstStyle>
          <a:p>
            <a:fld id="{A7A19BC0-DD71-49C5-B8BD-E3987089C201}" type="datetime1">
              <a:rPr lang="en-US" smtClean="0"/>
              <a:pPr/>
              <a:t>8/29/2025</a:t>
            </a:fld>
            <a:endParaRPr lang="en-US"/>
          </a:p>
        </p:txBody>
      </p:sp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AD23396C-F419-E04B-8B2D-18295DF774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40418" y="5003474"/>
            <a:ext cx="324294" cy="8245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 rtl="0">
              <a:defRPr sz="600" b="0">
                <a:solidFill>
                  <a:srgbClr val="737373"/>
                </a:solidFill>
              </a:defRPr>
            </a:lvl1pPr>
          </a:lstStyle>
          <a:p>
            <a:fld id="{17CD396C-6A52-4D5A-BAE3-92A1CC3BBDE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Platshållare för sidfot 6">
            <a:extLst>
              <a:ext uri="{FF2B5EF4-FFF2-40B4-BE49-F238E27FC236}">
                <a16:creationId xmlns:a16="http://schemas.microsoft.com/office/drawing/2014/main" id="{8793D5AD-B13B-5B45-8FD0-9E8A3F8D760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84887" y="4901296"/>
            <a:ext cx="2879823" cy="1152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 rtl="0">
              <a:defRPr sz="600">
                <a:solidFill>
                  <a:srgbClr val="737373"/>
                </a:solidFill>
              </a:defRPr>
            </a:lvl1pPr>
          </a:lstStyle>
          <a:p>
            <a:r>
              <a:rPr lang="en-US"/>
              <a:t>Go to header/footer to change text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FE217A3-A2EF-9B64-E56A-50227FE82F7A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0" y="5052060"/>
            <a:ext cx="890588" cy="9144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 rtl="0"/>
            <a:r>
              <a:rPr lang="en-US" sz="600">
                <a:solidFill>
                  <a:srgbClr val="73737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fidentiality: C2 - Internal</a:t>
            </a:r>
          </a:p>
        </p:txBody>
      </p:sp>
    </p:spTree>
    <p:extLst>
      <p:ext uri="{BB962C8B-B14F-4D97-AF65-F5344CB8AC3E}">
        <p14:creationId xmlns:p14="http://schemas.microsoft.com/office/powerpoint/2010/main" val="16588203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674" r:id="rId2"/>
    <p:sldLayoutId id="2147483719" r:id="rId3"/>
    <p:sldLayoutId id="2147483754" r:id="rId4"/>
    <p:sldLayoutId id="2147483677" r:id="rId5"/>
    <p:sldLayoutId id="2147483724" r:id="rId6"/>
    <p:sldLayoutId id="2147483675" r:id="rId7"/>
    <p:sldLayoutId id="2147483676" r:id="rId8"/>
    <p:sldLayoutId id="2147483671" r:id="rId9"/>
    <p:sldLayoutId id="2147483679" r:id="rId10"/>
    <p:sldLayoutId id="2147483683" r:id="rId11"/>
    <p:sldLayoutId id="2147483680" r:id="rId12"/>
    <p:sldLayoutId id="2147483682" r:id="rId13"/>
    <p:sldLayoutId id="2147483681" r:id="rId14"/>
    <p:sldLayoutId id="2147483685" r:id="rId15"/>
    <p:sldLayoutId id="2147483686" r:id="rId16"/>
    <p:sldLayoutId id="2147483684" r:id="rId17"/>
    <p:sldLayoutId id="2147483673" r:id="rId18"/>
    <p:sldLayoutId id="2147483746" r:id="rId19"/>
    <p:sldLayoutId id="2147483750" r:id="rId20"/>
    <p:sldLayoutId id="2147483753" r:id="rId21"/>
    <p:sldLayoutId id="2147483749" r:id="rId22"/>
    <p:sldLayoutId id="2147483678" r:id="rId23"/>
    <p:sldLayoutId id="2147483668" r:id="rId24"/>
    <p:sldLayoutId id="2147483669" r:id="rId25"/>
    <p:sldLayoutId id="2147483670" r:id="rId26"/>
  </p:sldLayoutIdLst>
  <p:hf hdr="0" ftr="0" dt="0"/>
  <p:txStyles>
    <p:titleStyle>
      <a:lvl1pPr algn="l" defTabSz="685800" rtl="0" eaLnBrk="1" latinLnBrk="0" hangingPunct="1">
        <a:lnSpc>
          <a:spcPct val="95000"/>
        </a:lnSpc>
        <a:spcBef>
          <a:spcPct val="0"/>
        </a:spcBef>
        <a:buNone/>
        <a:defRPr sz="3000" b="1" kern="1200" spc="-7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100000"/>
        </a:lnSpc>
        <a:spcBef>
          <a:spcPts val="75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8775" indent="-179388" algn="l" defTabSz="685800" rtl="0" eaLnBrk="1" latinLnBrk="0" hangingPunct="1">
        <a:lnSpc>
          <a:spcPct val="100000"/>
        </a:lnSpc>
        <a:spcBef>
          <a:spcPts val="375"/>
        </a:spcBef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34988" indent="-176213" algn="l" defTabSz="685800" rtl="0" eaLnBrk="1" latinLnBrk="0" hangingPunct="1">
        <a:lnSpc>
          <a:spcPct val="100000"/>
        </a:lnSpc>
        <a:spcBef>
          <a:spcPts val="375"/>
        </a:spcBef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14375" indent="-179388" algn="l" defTabSz="685800" rtl="0" eaLnBrk="1" latinLnBrk="0" hangingPunct="1">
        <a:lnSpc>
          <a:spcPct val="100000"/>
        </a:lnSpc>
        <a:spcBef>
          <a:spcPts val="375"/>
        </a:spcBef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89000" indent="-174625" algn="l" defTabSz="685800" rtl="0" eaLnBrk="1" latinLnBrk="0" hangingPunct="1">
        <a:lnSpc>
          <a:spcPct val="100000"/>
        </a:lnSpc>
        <a:spcBef>
          <a:spcPts val="375"/>
        </a:spcBef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113" userDrawn="1">
          <p15:clr>
            <a:srgbClr val="F26B43"/>
          </p15:clr>
        </p15:guide>
        <p15:guide id="4" pos="5647" userDrawn="1">
          <p15:clr>
            <a:srgbClr val="F26B43"/>
          </p15:clr>
        </p15:guide>
        <p15:guide id="5" orient="horz" pos="100" userDrawn="1">
          <p15:clr>
            <a:srgbClr val="F26B43"/>
          </p15:clr>
        </p15:guide>
        <p15:guide id="6" orient="horz" pos="3049" userDrawn="1">
          <p15:clr>
            <a:srgbClr val="F26B43"/>
          </p15:clr>
        </p15:guide>
        <p15:guide id="7" pos="2925" userDrawn="1">
          <p15:clr>
            <a:srgbClr val="547EBF"/>
          </p15:clr>
        </p15:guide>
        <p15:guide id="8" pos="2835" userDrawn="1">
          <p15:clr>
            <a:srgbClr val="547EBF"/>
          </p15:clr>
        </p15:guide>
        <p15:guide id="9" pos="204" userDrawn="1">
          <p15:clr>
            <a:srgbClr val="547EBF"/>
          </p15:clr>
        </p15:guide>
        <p15:guide id="10" pos="5556" userDrawn="1">
          <p15:clr>
            <a:srgbClr val="547EBF"/>
          </p15:clr>
        </p15:guide>
        <p15:guide id="11" orient="horz" pos="169" userDrawn="1">
          <p15:clr>
            <a:srgbClr val="547EBF"/>
          </p15:clr>
        </p15:guide>
        <p15:guide id="12" orient="horz" pos="2958" userDrawn="1">
          <p15:clr>
            <a:srgbClr val="547EBF"/>
          </p15:clr>
        </p15:guide>
        <p15:guide id="16" pos="1111" userDrawn="1">
          <p15:clr>
            <a:srgbClr val="547EBF"/>
          </p15:clr>
        </p15:guide>
        <p15:guide id="17" pos="1927" userDrawn="1">
          <p15:clr>
            <a:srgbClr val="547EBF"/>
          </p15:clr>
        </p15:guide>
        <p15:guide id="18" pos="2018" userDrawn="1">
          <p15:clr>
            <a:srgbClr val="547EBF"/>
          </p15:clr>
        </p15:guide>
        <p15:guide id="19" pos="3742" userDrawn="1">
          <p15:clr>
            <a:srgbClr val="547EBF"/>
          </p15:clr>
        </p15:guide>
        <p15:guide id="20" pos="3833" userDrawn="1">
          <p15:clr>
            <a:srgbClr val="547EBF"/>
          </p15:clr>
        </p15:guide>
        <p15:guide id="21" pos="4649" userDrawn="1">
          <p15:clr>
            <a:srgbClr val="547EBF"/>
          </p15:clr>
        </p15:guide>
        <p15:guide id="22" pos="4740" userDrawn="1">
          <p15:clr>
            <a:srgbClr val="547EBF"/>
          </p15:clr>
        </p15:guide>
        <p15:guide id="24" pos="1020" userDrawn="1">
          <p15:clr>
            <a:srgbClr val="547EBF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3.xml"/><Relationship Id="rId6" Type="http://schemas.openxmlformats.org/officeDocument/2006/relationships/image" Target="../media/image10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2.bin"/></Relationships>
</file>

<file path=ppt/slides/_rels/slide10.xml.rels><?xml version="1.0" encoding="UTF-8" standalone="yes"?>
<Relationships xmlns="http://schemas.openxmlformats.org/package/2006/relationships"><Relationship Id="rId2" Type="http://schemas.microsoft.com/office/2018/10/relationships/comments" Target="../comments/modernComment_7FFFE595_45A87F47.xml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3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3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3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3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3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3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17FFCBC-2752-3D43-E9F4-CEAD2E71CB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8F29F12B-4CB8-6A45-5A25-5050E6AE83F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044032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7" imgH="277" progId="TCLayout.ActiveDocument.1">
                  <p:embed/>
                </p:oleObj>
              </mc:Choice>
              <mc:Fallback>
                <p:oleObj name="think-cell Folie" r:id="rId4" imgW="277" imgH="277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8F29F12B-4CB8-6A45-5A25-5050E6AE83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Bildplatzhalter 8">
            <a:extLst>
              <a:ext uri="{FF2B5EF4-FFF2-40B4-BE49-F238E27FC236}">
                <a16:creationId xmlns:a16="http://schemas.microsoft.com/office/drawing/2014/main" id="{B503BA25-6B67-FB97-4D0E-B0A361D89485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/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29B2D1A7-FEC1-3C20-FEEE-EDE9A92158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sz="3600" noProof="0" dirty="0"/>
              <a:t>Cost Savings Matrix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B532EA0-C26F-AD81-6722-DABB27112C4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18783" y="3307557"/>
            <a:ext cx="3106434" cy="715803"/>
          </a:xfrm>
        </p:spPr>
        <p:txBody>
          <a:bodyPr/>
          <a:lstStyle/>
          <a:p>
            <a:endParaRPr lang="en-US" sz="1200" b="0" noProof="0"/>
          </a:p>
          <a:p>
            <a:r>
              <a:rPr lang="en-US" sz="1200" b="0" noProof="0"/>
              <a:t>August 2025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4E46FCC4-1F71-5E5E-9981-5770D6F06B6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7CD396C-6A52-4D5A-BAE3-92A1CC3BBDE0}" type="slidenum">
              <a:rPr lang="en-US" noProof="0" smtClean="0"/>
              <a:pPr/>
              <a:t>1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65514772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nummer 1">
            <a:extLst>
              <a:ext uri="{FF2B5EF4-FFF2-40B4-BE49-F238E27FC236}">
                <a16:creationId xmlns:a16="http://schemas.microsoft.com/office/drawing/2014/main" id="{A2B0DEC1-1B6A-683E-67CF-12E169220B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7CD396C-6A52-4D5A-BAE3-92A1CC3BBDE0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7" name="Platshållare för text 6">
            <a:extLst>
              <a:ext uri="{FF2B5EF4-FFF2-40B4-BE49-F238E27FC236}">
                <a16:creationId xmlns:a16="http://schemas.microsoft.com/office/drawing/2014/main" id="{39E986B1-35F3-A1D9-7972-A2094E07733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8" name="Platshållare för text 7">
            <a:extLst>
              <a:ext uri="{FF2B5EF4-FFF2-40B4-BE49-F238E27FC236}">
                <a16:creationId xmlns:a16="http://schemas.microsoft.com/office/drawing/2014/main" id="{584301F3-F0FF-72CA-E08F-C15E3D6CAD5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Rubrik 5">
            <a:extLst>
              <a:ext uri="{FF2B5EF4-FFF2-40B4-BE49-F238E27FC236}">
                <a16:creationId xmlns:a16="http://schemas.microsoft.com/office/drawing/2014/main" id="{586A18F3-9BE5-70AB-8F5C-8BCD4D9306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Sweden</a:t>
            </a:r>
          </a:p>
        </p:txBody>
      </p:sp>
      <p:sp>
        <p:nvSpPr>
          <p:cNvPr id="9" name="Platshållare för text 8">
            <a:extLst>
              <a:ext uri="{FF2B5EF4-FFF2-40B4-BE49-F238E27FC236}">
                <a16:creationId xmlns:a16="http://schemas.microsoft.com/office/drawing/2014/main" id="{F6CF7E5C-807A-EBD8-52A0-D923C9C8D25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 vert="horz" lIns="90000" tIns="45720" rIns="144000" bIns="45720" rtlCol="0" anchor="t">
            <a:noAutofit/>
          </a:bodyPr>
          <a:lstStyle/>
          <a:p>
            <a:pPr lvl="0"/>
            <a:r>
              <a:rPr lang="nb-NO" sz="1400" b="1" dirty="0" err="1"/>
              <a:t>Self</a:t>
            </a:r>
            <a:r>
              <a:rPr lang="nb-NO" sz="1400" b="1" dirty="0"/>
              <a:t> Service</a:t>
            </a:r>
            <a:r>
              <a:rPr lang="nb-NO" sz="1400" dirty="0"/>
              <a:t> – 300K (NL 2026), 80K (DE 2026) + –15% (DE 2027) / –10% (NL 2027) på OPEX. </a:t>
            </a:r>
            <a:r>
              <a:rPr lang="sv-SE" sz="1400" dirty="0"/>
              <a:t>Framförallt gäller detta </a:t>
            </a:r>
            <a:r>
              <a:rPr lang="sv-SE" sz="1400" b="1" dirty="0" err="1"/>
              <a:t>self-assign</a:t>
            </a:r>
            <a:r>
              <a:rPr lang="sv-SE" sz="1400" b="1" dirty="0"/>
              <a:t> </a:t>
            </a:r>
            <a:r>
              <a:rPr lang="sv-SE" sz="1400" b="1" dirty="0" err="1"/>
              <a:t>card</a:t>
            </a:r>
            <a:r>
              <a:rPr lang="sv-SE" sz="1400" b="1" dirty="0"/>
              <a:t> </a:t>
            </a:r>
            <a:r>
              <a:rPr lang="sv-SE" sz="1400" dirty="0"/>
              <a:t>och </a:t>
            </a:r>
            <a:r>
              <a:rPr lang="sv-SE" sz="1400" b="1" dirty="0" err="1"/>
              <a:t>self</a:t>
            </a:r>
            <a:r>
              <a:rPr lang="sv-SE" sz="1400" b="1" dirty="0"/>
              <a:t>-service </a:t>
            </a:r>
            <a:r>
              <a:rPr lang="sv-SE" sz="1400" dirty="0"/>
              <a:t>gällande ändringar av kontaktinformation för EV drivers. (</a:t>
            </a:r>
            <a:r>
              <a:rPr lang="sv-SE" sz="1400" dirty="0" err="1">
                <a:solidFill>
                  <a:srgbClr val="FF0000"/>
                </a:solidFill>
              </a:rPr>
              <a:t>Quantify</a:t>
            </a:r>
            <a:r>
              <a:rPr lang="sv-SE" sz="1400" dirty="0">
                <a:solidFill>
                  <a:srgbClr val="FF0000"/>
                </a:solidFill>
              </a:rPr>
              <a:t> </a:t>
            </a:r>
            <a:r>
              <a:rPr lang="sv-SE" sz="1400" dirty="0" err="1">
                <a:solidFill>
                  <a:srgbClr val="FF0000"/>
                </a:solidFill>
              </a:rPr>
              <a:t>based</a:t>
            </a:r>
            <a:r>
              <a:rPr lang="sv-SE" sz="1400" dirty="0">
                <a:solidFill>
                  <a:srgbClr val="FF0000"/>
                </a:solidFill>
              </a:rPr>
              <a:t> on </a:t>
            </a:r>
            <a:r>
              <a:rPr lang="sv-SE" sz="1400" dirty="0" err="1">
                <a:solidFill>
                  <a:srgbClr val="FF0000"/>
                </a:solidFill>
              </a:rPr>
              <a:t>facs</a:t>
            </a:r>
            <a:r>
              <a:rPr lang="sv-SE" sz="1400" dirty="0">
                <a:solidFill>
                  <a:srgbClr val="FF0000"/>
                </a:solidFill>
              </a:rPr>
              <a:t> from Miia and Suzan, </a:t>
            </a:r>
            <a:r>
              <a:rPr lang="sv-SE" sz="1400" dirty="0" err="1">
                <a:solidFill>
                  <a:srgbClr val="FF0000"/>
                </a:solidFill>
              </a:rPr>
              <a:t>roughly</a:t>
            </a:r>
            <a:r>
              <a:rPr lang="sv-SE" sz="1400" dirty="0">
                <a:solidFill>
                  <a:srgbClr val="FF0000"/>
                </a:solidFill>
              </a:rPr>
              <a:t> 10% on 11 MSEK= ~1 MSEK)</a:t>
            </a:r>
          </a:p>
          <a:p>
            <a:r>
              <a:rPr lang="sv-SE" sz="1400" b="1" dirty="0"/>
              <a:t>Kontaktminskning/FCR &amp; Voice Bots</a:t>
            </a:r>
            <a:r>
              <a:rPr lang="sv-SE" sz="1400" dirty="0"/>
              <a:t> – –20% kostnadsreduktion (DE 2027), stor potential i NL men ej kvantifierad (Jasper återkommer med siffror). (1 FTE DEL/AM 2027/2028 SE?) - </a:t>
            </a:r>
            <a:r>
              <a:rPr lang="sv-SE" sz="1400" dirty="0">
                <a:solidFill>
                  <a:srgbClr val="FF0000"/>
                </a:solidFill>
              </a:rPr>
              <a:t>kommer inte spara FTE i SE, möjlig besparing i </a:t>
            </a:r>
            <a:r>
              <a:rPr lang="sv-SE" sz="1400" dirty="0" err="1">
                <a:solidFill>
                  <a:srgbClr val="FF0000"/>
                </a:solidFill>
              </a:rPr>
              <a:t>cost</a:t>
            </a:r>
            <a:r>
              <a:rPr lang="sv-SE" sz="1400" dirty="0">
                <a:solidFill>
                  <a:srgbClr val="FF0000"/>
                </a:solidFill>
              </a:rPr>
              <a:t> för </a:t>
            </a:r>
            <a:r>
              <a:rPr lang="sv-SE" sz="1400" dirty="0" err="1">
                <a:solidFill>
                  <a:srgbClr val="FF0000"/>
                </a:solidFill>
              </a:rPr>
              <a:t>Cust</a:t>
            </a:r>
            <a:r>
              <a:rPr lang="sv-SE" sz="1400" dirty="0">
                <a:solidFill>
                  <a:srgbClr val="FF0000"/>
                </a:solidFill>
              </a:rPr>
              <a:t> service</a:t>
            </a:r>
            <a:endParaRPr lang="sv-SE" sz="1400" dirty="0">
              <a:solidFill>
                <a:srgbClr val="FF0000"/>
              </a:solidFill>
              <a:cs typeface="Arial"/>
            </a:endParaRPr>
          </a:p>
          <a:p>
            <a:r>
              <a:rPr lang="sv-SE" sz="1400" b="1" dirty="0" err="1"/>
              <a:t>Förbättingar</a:t>
            </a:r>
            <a:r>
              <a:rPr lang="sv-SE" sz="1400" b="1" dirty="0"/>
              <a:t> av </a:t>
            </a:r>
            <a:r>
              <a:rPr lang="sv-SE" sz="1400" b="1" dirty="0" err="1"/>
              <a:t>delivery</a:t>
            </a:r>
            <a:r>
              <a:rPr lang="sv-SE" sz="1400" b="1" dirty="0"/>
              <a:t> och </a:t>
            </a:r>
            <a:r>
              <a:rPr lang="sv-SE" sz="1400" b="1" dirty="0" err="1"/>
              <a:t>assset</a:t>
            </a:r>
            <a:r>
              <a:rPr lang="sv-SE" sz="1400" b="1" dirty="0"/>
              <a:t> management processer genom </a:t>
            </a:r>
            <a:r>
              <a:rPr lang="sv-SE" sz="1400" b="1" dirty="0" err="1"/>
              <a:t>Fiels</a:t>
            </a:r>
            <a:r>
              <a:rPr lang="sv-SE" sz="1400" b="1" dirty="0"/>
              <a:t> Service </a:t>
            </a:r>
            <a:r>
              <a:rPr lang="sv-SE" sz="1400" b="1" dirty="0" err="1"/>
              <a:t>module</a:t>
            </a:r>
            <a:r>
              <a:rPr lang="sv-SE" sz="1400" b="1" dirty="0"/>
              <a:t> </a:t>
            </a:r>
            <a:r>
              <a:rPr lang="sv-SE" sz="1400" dirty="0"/>
              <a:t>– Minst 1 FTE per marknad, vi behöver återbesöka business </a:t>
            </a:r>
            <a:r>
              <a:rPr lang="sv-SE" sz="1400" dirty="0" err="1"/>
              <a:t>caset</a:t>
            </a:r>
            <a:r>
              <a:rPr lang="sv-SE" sz="1400" dirty="0"/>
              <a:t> för AMIT för att verifiera. (1 FTE DEL/AM 2027/2028 SE) </a:t>
            </a:r>
            <a:r>
              <a:rPr lang="sv-SE" sz="1400" dirty="0">
                <a:solidFill>
                  <a:srgbClr val="FF0000"/>
                </a:solidFill>
              </a:rPr>
              <a:t>SE har redan tagit minskning av FTE i samband med Orion. Projektet bra för framtida skalbarhet för utrullning</a:t>
            </a:r>
            <a:endParaRPr lang="sv-SE" sz="1400" dirty="0">
              <a:solidFill>
                <a:srgbClr val="FF0000"/>
              </a:solidFill>
              <a:cs typeface="Arial"/>
            </a:endParaRPr>
          </a:p>
          <a:p>
            <a:r>
              <a:rPr lang="sv-SE" sz="1400" b="1" dirty="0"/>
              <a:t>Datakvalitet (kostnad)</a:t>
            </a:r>
            <a:r>
              <a:rPr lang="sv-SE" sz="1400" dirty="0"/>
              <a:t> – 0,3–1,0 FTE (DE 2026–2027). </a:t>
            </a:r>
            <a:r>
              <a:rPr lang="sv-SE" sz="1400" dirty="0">
                <a:solidFill>
                  <a:srgbClr val="FF0000"/>
                </a:solidFill>
              </a:rPr>
              <a:t>SE har endast 2 FTE inom Datakvalitet</a:t>
            </a:r>
            <a:endParaRPr lang="sv-SE" sz="1400" dirty="0">
              <a:solidFill>
                <a:srgbClr val="FF0000"/>
              </a:solidFill>
              <a:cs typeface="Arial"/>
            </a:endParaRPr>
          </a:p>
          <a:p>
            <a:pPr lvl="0"/>
            <a:r>
              <a:rPr lang="sv-SE" sz="1400" b="1" dirty="0"/>
              <a:t>Datakvalitet (intäkt)</a:t>
            </a:r>
            <a:r>
              <a:rPr lang="sv-SE" sz="1400" dirty="0"/>
              <a:t> – stor potential, men ej kvantifierad.</a:t>
            </a:r>
          </a:p>
          <a:p>
            <a:r>
              <a:rPr lang="sv-SE" sz="1400" b="1" dirty="0"/>
              <a:t>2nd </a:t>
            </a:r>
            <a:r>
              <a:rPr lang="sv-SE" sz="1400" b="1" dirty="0" err="1"/>
              <a:t>Tier</a:t>
            </a:r>
            <a:r>
              <a:rPr lang="sv-SE" sz="1400" b="1" dirty="0"/>
              <a:t>‑reduktion, dvs när vi slutat operera CI</a:t>
            </a:r>
            <a:r>
              <a:rPr lang="sv-SE" sz="1400" dirty="0"/>
              <a:t> – minskad kundinteraktion med ca 25% följande CI exit (lärdom från B2C exit) </a:t>
            </a:r>
            <a:r>
              <a:rPr lang="sv-SE" sz="1400" dirty="0">
                <a:solidFill>
                  <a:srgbClr val="FF0000"/>
                </a:solidFill>
              </a:rPr>
              <a:t>Från 2027 ser vi potentiell besparing på minst 25%</a:t>
            </a:r>
            <a:endParaRPr lang="sv-SE" sz="1400" b="1" dirty="0">
              <a:solidFill>
                <a:srgbClr val="FF0000"/>
              </a:solidFill>
              <a:cs typeface="Arial"/>
            </a:endParaRPr>
          </a:p>
          <a:p>
            <a:endParaRPr lang="sv-SE" sz="1400" dirty="0"/>
          </a:p>
        </p:txBody>
      </p:sp>
    </p:spTree>
    <p:extLst>
      <p:ext uri="{BB962C8B-B14F-4D97-AF65-F5344CB8AC3E}">
        <p14:creationId xmlns:p14="http://schemas.microsoft.com/office/powerpoint/2010/main" val="1168670535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08627834-80A5-8AD0-DB01-277254FE763A}"/>
              </a:ext>
            </a:extLst>
          </p:cNvPr>
          <p:cNvSpPr txBox="1"/>
          <p:nvPr/>
        </p:nvSpPr>
        <p:spPr>
          <a:xfrm>
            <a:off x="557212" y="114300"/>
            <a:ext cx="8329612" cy="512448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200" b="1" dirty="0"/>
              <a:t>self-Service</a:t>
            </a:r>
          </a:p>
          <a:p>
            <a:pPr marL="228600" indent="-228600">
              <a:buFont typeface=""/>
              <a:buChar char="•"/>
            </a:pPr>
            <a:r>
              <a:rPr lang="en-US" sz="1200" dirty="0"/>
              <a:t>Forecasted Impact:</a:t>
            </a:r>
            <a:endParaRPr lang="en-US" sz="1200" dirty="0">
              <a:cs typeface="Arial"/>
            </a:endParaRPr>
          </a:p>
          <a:p>
            <a:pPr marL="228600" lvl="1" indent="-228600">
              <a:buFont typeface=""/>
              <a:buChar char="•"/>
            </a:pPr>
            <a:r>
              <a:rPr lang="en-US" sz="1200" dirty="0"/>
              <a:t>Netherlands (2026): 300K EUR</a:t>
            </a:r>
            <a:endParaRPr lang="en-US" sz="1200" dirty="0">
              <a:cs typeface="Arial"/>
            </a:endParaRPr>
          </a:p>
          <a:p>
            <a:pPr marL="228600" lvl="1" indent="-228600">
              <a:buFont typeface=""/>
              <a:buChar char="•"/>
            </a:pPr>
            <a:r>
              <a:rPr lang="en-US" sz="1200" dirty="0"/>
              <a:t>Germany (2026): 80K EUR</a:t>
            </a:r>
            <a:endParaRPr lang="en-US" sz="1200" dirty="0">
              <a:cs typeface="Arial"/>
            </a:endParaRPr>
          </a:p>
          <a:p>
            <a:pPr marL="228600" lvl="1" indent="-228600">
              <a:buFont typeface=""/>
              <a:buChar char="•"/>
            </a:pPr>
            <a:r>
              <a:rPr lang="en-US" sz="1200" dirty="0"/>
              <a:t>Germany (2027): –15% OPEX reduction</a:t>
            </a:r>
            <a:endParaRPr lang="en-US" sz="1200" dirty="0">
              <a:cs typeface="Arial"/>
            </a:endParaRPr>
          </a:p>
          <a:p>
            <a:pPr marL="228600" lvl="1" indent="-228600">
              <a:buFont typeface=""/>
              <a:buChar char="•"/>
            </a:pPr>
            <a:r>
              <a:rPr lang="en-US" sz="1200" dirty="0"/>
              <a:t>Netherlands (2027): –10% OPEX reduction</a:t>
            </a:r>
            <a:endParaRPr lang="en-US" sz="1200" dirty="0">
              <a:cs typeface="Arial"/>
            </a:endParaRPr>
          </a:p>
          <a:p>
            <a:pPr>
              <a:buFont typeface=""/>
              <a:buChar char="•"/>
            </a:pPr>
            <a:r>
              <a:rPr lang="en-US" sz="1200" dirty="0"/>
              <a:t>Scope: Primarily related to self-assignment of cards and self-service for updating contact information for EV drivers.</a:t>
            </a:r>
            <a:endParaRPr lang="en-US" sz="1200" dirty="0">
              <a:cs typeface="Arial"/>
            </a:endParaRPr>
          </a:p>
          <a:p>
            <a:pPr>
              <a:buFont typeface=""/>
              <a:buChar char="•"/>
            </a:pPr>
            <a:r>
              <a:rPr lang="en-US" sz="1200" dirty="0"/>
              <a:t>Quantification: Based on input from Miia and Suzan, estimated at roughly 10% of 11 MSEK = ~1 MSEK.</a:t>
            </a:r>
            <a:endParaRPr lang="en-US" sz="1200" dirty="0">
              <a:cs typeface="Arial"/>
            </a:endParaRPr>
          </a:p>
          <a:p>
            <a:r>
              <a:rPr lang="en-US" sz="1200" b="1" dirty="0"/>
              <a:t>Contact Reduction / FCR &amp; Voice Bots</a:t>
            </a:r>
            <a:endParaRPr lang="en-US" sz="1200" b="1" dirty="0">
              <a:cs typeface="Arial"/>
            </a:endParaRPr>
          </a:p>
          <a:p>
            <a:pPr>
              <a:buFont typeface=""/>
              <a:buChar char="•"/>
            </a:pPr>
            <a:r>
              <a:rPr lang="en-US" sz="1200" dirty="0"/>
              <a:t>Germany (2027): –20% cost reduction</a:t>
            </a:r>
            <a:endParaRPr lang="en-US" sz="1200" dirty="0">
              <a:cs typeface="Arial"/>
            </a:endParaRPr>
          </a:p>
          <a:p>
            <a:pPr>
              <a:buFont typeface=""/>
              <a:buChar char="•"/>
            </a:pPr>
            <a:r>
              <a:rPr lang="en-US" sz="1200" dirty="0"/>
              <a:t>Netherlands: High potential, but not yet quantified (Jasper to provide figures).</a:t>
            </a:r>
            <a:endParaRPr lang="en-US" sz="1200" dirty="0">
              <a:cs typeface="Arial"/>
            </a:endParaRPr>
          </a:p>
          <a:p>
            <a:pPr>
              <a:buFont typeface=""/>
              <a:buChar char="•"/>
            </a:pPr>
            <a:r>
              <a:rPr lang="en-US" sz="1200" dirty="0"/>
              <a:t>Sweden: No FTE savings expected, but possible cost savings in Customer Service.</a:t>
            </a:r>
            <a:endParaRPr lang="en-US" sz="1200" dirty="0">
              <a:cs typeface="Arial"/>
            </a:endParaRPr>
          </a:p>
          <a:p>
            <a:pPr>
              <a:buFont typeface=""/>
              <a:buChar char="•"/>
            </a:pPr>
            <a:r>
              <a:rPr lang="en-US" sz="1200" dirty="0"/>
              <a:t>FTE Impact: Possibly 1 FTE reduction in DE/AM during 2027/2028.</a:t>
            </a:r>
            <a:endParaRPr lang="en-US" sz="1200" dirty="0">
              <a:cs typeface="Arial"/>
            </a:endParaRPr>
          </a:p>
          <a:p>
            <a:r>
              <a:rPr lang="en-US" sz="1200" b="1" dirty="0"/>
              <a:t>Delivery and Asset Management Process Improvements (via Field Service Module)</a:t>
            </a:r>
            <a:endParaRPr lang="en-US" sz="1200" b="1" dirty="0">
              <a:cs typeface="Arial"/>
            </a:endParaRPr>
          </a:p>
          <a:p>
            <a:pPr>
              <a:buFont typeface=""/>
              <a:buChar char="•"/>
            </a:pPr>
            <a:r>
              <a:rPr lang="en-US" sz="1200" dirty="0"/>
              <a:t>Impact: Minimum 1 FTE reduction per market.</a:t>
            </a:r>
            <a:endParaRPr lang="en-US" sz="1200" dirty="0">
              <a:cs typeface="Arial"/>
            </a:endParaRPr>
          </a:p>
          <a:p>
            <a:pPr>
              <a:buFont typeface=""/>
              <a:buChar char="•"/>
            </a:pPr>
            <a:r>
              <a:rPr lang="en-US" sz="1200" dirty="0"/>
              <a:t>Action: Revisit the business case for AMIT to verify.</a:t>
            </a:r>
            <a:endParaRPr lang="en-US" sz="1200" dirty="0">
              <a:cs typeface="Arial"/>
            </a:endParaRPr>
          </a:p>
          <a:p>
            <a:pPr>
              <a:buFont typeface=""/>
              <a:buChar char="•"/>
            </a:pPr>
            <a:r>
              <a:rPr lang="en-US" sz="1200" dirty="0"/>
              <a:t>Sweden: Already reduced FTEs in connection with Orion. Project supports future scalability for rollout.</a:t>
            </a:r>
            <a:endParaRPr lang="en-US" sz="1200" dirty="0">
              <a:cs typeface="Arial"/>
            </a:endParaRPr>
          </a:p>
          <a:p>
            <a:pPr>
              <a:buFont typeface=""/>
              <a:buChar char="•"/>
            </a:pPr>
            <a:r>
              <a:rPr lang="en-US" sz="1200" dirty="0"/>
              <a:t>FTE Impact: 1 FTE reduction in DE/AM during 2027/2028.</a:t>
            </a:r>
            <a:endParaRPr lang="en-US" sz="1200" dirty="0">
              <a:cs typeface="Arial"/>
            </a:endParaRPr>
          </a:p>
          <a:p>
            <a:r>
              <a:rPr lang="en-US" sz="1200" b="1" dirty="0"/>
              <a:t>Data Quality (Cost Perspective)</a:t>
            </a:r>
            <a:endParaRPr lang="en-US" sz="1200" b="1" dirty="0">
              <a:cs typeface="Arial"/>
            </a:endParaRPr>
          </a:p>
          <a:p>
            <a:pPr>
              <a:buFont typeface=""/>
              <a:buChar char="•"/>
            </a:pPr>
            <a:r>
              <a:rPr lang="en-US" sz="1200" dirty="0"/>
              <a:t>Germany (2026–2027): Estimated need of 0.3–1.0 FTE.</a:t>
            </a:r>
            <a:endParaRPr lang="en-US" sz="1200" dirty="0">
              <a:cs typeface="Arial"/>
            </a:endParaRPr>
          </a:p>
          <a:p>
            <a:pPr>
              <a:buFont typeface=""/>
              <a:buChar char="•"/>
            </a:pPr>
            <a:r>
              <a:rPr lang="en-US" sz="1200" dirty="0"/>
              <a:t>Sweden: Currently only 2 FTEs working on data quality.</a:t>
            </a:r>
            <a:endParaRPr lang="en-US" sz="1200" dirty="0">
              <a:cs typeface="Arial"/>
            </a:endParaRPr>
          </a:p>
          <a:p>
            <a:r>
              <a:rPr lang="en-US" sz="1200" b="1" dirty="0"/>
              <a:t>Data Quality (Revenue Perspective)</a:t>
            </a:r>
            <a:endParaRPr lang="en-US" sz="1200" b="1" dirty="0">
              <a:cs typeface="Arial"/>
            </a:endParaRPr>
          </a:p>
          <a:p>
            <a:pPr>
              <a:buFont typeface=""/>
              <a:buChar char="•"/>
            </a:pPr>
            <a:r>
              <a:rPr lang="en-US" sz="1200" dirty="0"/>
              <a:t>Potential: Significant, but not yet quantified.</a:t>
            </a:r>
            <a:endParaRPr lang="en-US" sz="1200" dirty="0">
              <a:cs typeface="Arial"/>
            </a:endParaRPr>
          </a:p>
          <a:p>
            <a:r>
              <a:rPr lang="en-US" sz="1200" b="1" dirty="0"/>
              <a:t>2nd Tier Reduction (Post-CI Exit)</a:t>
            </a:r>
            <a:endParaRPr lang="en-US" sz="1200" b="1" dirty="0">
              <a:cs typeface="Arial"/>
            </a:endParaRPr>
          </a:p>
          <a:p>
            <a:pPr>
              <a:buFont typeface=""/>
              <a:buChar char="•"/>
            </a:pPr>
            <a:r>
              <a:rPr lang="en-US" sz="1200" dirty="0"/>
              <a:t>Impact: Reduced customer interaction by approximately 25% following CI exit (based on learnings from B2C exit).</a:t>
            </a:r>
            <a:endParaRPr lang="en-US" sz="1200" dirty="0">
              <a:cs typeface="Arial"/>
            </a:endParaRPr>
          </a:p>
          <a:p>
            <a:pPr>
              <a:buFont typeface=""/>
              <a:buChar char="•"/>
            </a:pPr>
            <a:r>
              <a:rPr lang="en-US" sz="1200" dirty="0"/>
              <a:t>Timeline: From 2027, potential savings of at least 25%.</a:t>
            </a:r>
            <a:endParaRPr lang="en-US" sz="1200" dirty="0">
              <a:cs typeface="Arial"/>
            </a:endParaRPr>
          </a:p>
          <a:p>
            <a:endParaRPr lang="en-US" sz="1200" dirty="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3491625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CFC0598-15C4-6062-95A2-4ADBA311DA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ABCAFEF9-FF7E-6B9D-E75B-469EC988D4F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ABCAFEF9-FF7E-6B9D-E75B-469EC988D4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5D29EF75-C120-CFE9-1DE9-1111A0E3D4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850" y="142697"/>
            <a:ext cx="8496300" cy="413292"/>
          </a:xfrm>
        </p:spPr>
        <p:txBody>
          <a:bodyPr vert="horz"/>
          <a:lstStyle/>
          <a:p>
            <a:r>
              <a:rPr lang="en-US" noProof="0" dirty="0">
                <a:effectLst/>
                <a:latin typeface="+mn-lt"/>
              </a:rPr>
              <a:t>introduction</a:t>
            </a:r>
            <a:endParaRPr lang="en-US" noProof="0" dirty="0">
              <a:latin typeface="+mn-lt"/>
            </a:endParaRPr>
          </a:p>
        </p:txBody>
      </p:sp>
      <p:sp>
        <p:nvSpPr>
          <p:cNvPr id="4" name="Tekstvak 3">
            <a:extLst>
              <a:ext uri="{FF2B5EF4-FFF2-40B4-BE49-F238E27FC236}">
                <a16:creationId xmlns:a16="http://schemas.microsoft.com/office/drawing/2014/main" id="{B99C4611-5C7D-DF8A-510D-2E2415911B30}"/>
              </a:ext>
            </a:extLst>
          </p:cNvPr>
          <p:cNvSpPr txBox="1"/>
          <p:nvPr/>
        </p:nvSpPr>
        <p:spPr>
          <a:xfrm>
            <a:off x="477982" y="976745"/>
            <a:ext cx="8001000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sz="1200" dirty="0"/>
              <a:t>This document is used to capture cost reductions in 2026 – 2028 after the initial costings brought by the CI decision that will be announced soon. 6 Main categories can be determined:</a:t>
            </a:r>
          </a:p>
          <a:p>
            <a:pPr algn="l"/>
            <a:endParaRPr lang="en-GB" sz="1200" dirty="0"/>
          </a:p>
          <a:p>
            <a:pPr marL="171450" indent="-171450" fontAlgn="t">
              <a:buFont typeface="Arial" panose="020B0604020202020204" pitchFamily="34" charset="0"/>
              <a:buChar char="•"/>
            </a:pPr>
            <a:r>
              <a:rPr lang="en-GB" sz="1200" dirty="0"/>
              <a:t>Process automation</a:t>
            </a:r>
            <a:endParaRPr lang="nl-NL" sz="1200" dirty="0"/>
          </a:p>
          <a:p>
            <a:pPr marL="171450" indent="-171450" fontAlgn="t">
              <a:buFont typeface="Arial" panose="020B0604020202020204" pitchFamily="34" charset="0"/>
              <a:buChar char="•"/>
            </a:pPr>
            <a:r>
              <a:rPr lang="en-GB" sz="1200" dirty="0"/>
              <a:t>Data Quality improvements: cost savings</a:t>
            </a:r>
            <a:endParaRPr lang="nl-NL" sz="1200" dirty="0"/>
          </a:p>
          <a:p>
            <a:pPr marL="171450" indent="-171450" fontAlgn="t">
              <a:buFont typeface="Arial" panose="020B0604020202020204" pitchFamily="34" charset="0"/>
              <a:buChar char="•"/>
            </a:pPr>
            <a:r>
              <a:rPr lang="en-GB" sz="1200" dirty="0"/>
              <a:t>Data Quality improvements: revenue increase</a:t>
            </a:r>
            <a:endParaRPr lang="nl-NL" sz="1200" dirty="0"/>
          </a:p>
          <a:p>
            <a:pPr marL="171450" indent="-171450" fontAlgn="t">
              <a:buFont typeface="Arial" panose="020B0604020202020204" pitchFamily="34" charset="0"/>
              <a:buChar char="•"/>
            </a:pPr>
            <a:r>
              <a:rPr lang="en-GB" sz="1200" dirty="0"/>
              <a:t>Incident reduction / process stability</a:t>
            </a:r>
            <a:endParaRPr lang="nl-NL" sz="1200" dirty="0"/>
          </a:p>
          <a:p>
            <a:pPr marL="171450" indent="-171450" fontAlgn="t">
              <a:buFont typeface="Arial" panose="020B0604020202020204" pitchFamily="34" charset="0"/>
              <a:buChar char="•"/>
            </a:pPr>
            <a:r>
              <a:rPr lang="en-GB" sz="1200" dirty="0"/>
              <a:t>Self Service</a:t>
            </a:r>
            <a:endParaRPr lang="nl-NL" sz="1200" dirty="0"/>
          </a:p>
          <a:p>
            <a:pPr marL="171450" indent="-171450" fontAlgn="t">
              <a:buFont typeface="Arial" panose="020B0604020202020204" pitchFamily="34" charset="0"/>
              <a:buChar char="•"/>
            </a:pPr>
            <a:r>
              <a:rPr lang="en-GB" sz="1200" dirty="0"/>
              <a:t>Contact reduction: FCR</a:t>
            </a:r>
            <a:endParaRPr lang="nl-NL" sz="1200" dirty="0"/>
          </a:p>
          <a:p>
            <a:pPr marL="171450" indent="-171450" fontAlgn="t">
              <a:buFont typeface="Arial" panose="020B0604020202020204" pitchFamily="34" charset="0"/>
              <a:buChar char="•"/>
            </a:pPr>
            <a:r>
              <a:rPr lang="en-GB" sz="1200" dirty="0"/>
              <a:t>2</a:t>
            </a:r>
            <a:r>
              <a:rPr lang="en-GB" sz="1200" baseline="30000" dirty="0"/>
              <a:t>nd</a:t>
            </a:r>
            <a:r>
              <a:rPr lang="en-GB" sz="1200" dirty="0"/>
              <a:t> Tier reduction Customer Invest</a:t>
            </a:r>
            <a:endParaRPr lang="nl-NL" sz="1200" dirty="0"/>
          </a:p>
          <a:p>
            <a:pPr marL="171450" indent="-171450" fontAlgn="t">
              <a:buFont typeface="Arial" panose="020B0604020202020204" pitchFamily="34" charset="0"/>
              <a:buChar char="•"/>
            </a:pPr>
            <a:endParaRPr lang="en-GB" sz="1200" dirty="0"/>
          </a:p>
          <a:p>
            <a:pPr algn="l"/>
            <a:r>
              <a:rPr lang="en-GB" sz="1200" dirty="0"/>
              <a:t>Each categories will be described in the next slides and will be guided with (an) example(s). Talks with the S&amp;O’s will be scheduled to guide through the slides and fill in possible savings</a:t>
            </a:r>
          </a:p>
          <a:p>
            <a:pPr algn="l"/>
            <a:endParaRPr lang="en-GB" sz="1200" dirty="0"/>
          </a:p>
          <a:p>
            <a:pPr algn="l"/>
            <a:endParaRPr lang="en-GB" sz="1200" dirty="0"/>
          </a:p>
        </p:txBody>
      </p:sp>
    </p:spTree>
    <p:extLst>
      <p:ext uri="{BB962C8B-B14F-4D97-AF65-F5344CB8AC3E}">
        <p14:creationId xmlns:p14="http://schemas.microsoft.com/office/powerpoint/2010/main" val="194035490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6F0E7C6-4FE2-6B16-2C21-0923809C92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80155ED7-D027-691F-9D96-BDFB0BC2D27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80155ED7-D027-691F-9D96-BDFB0BC2D2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3F194C9-1454-C743-8FE1-8CC37D8E7A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850" y="142697"/>
            <a:ext cx="8496300" cy="413292"/>
          </a:xfrm>
        </p:spPr>
        <p:txBody>
          <a:bodyPr vert="horz"/>
          <a:lstStyle/>
          <a:p>
            <a:r>
              <a:rPr lang="en-US" noProof="0" dirty="0">
                <a:effectLst/>
                <a:latin typeface="+mn-lt"/>
              </a:rPr>
              <a:t>Cost saving categories</a:t>
            </a:r>
            <a:endParaRPr lang="en-US" noProof="0" dirty="0">
              <a:latin typeface="+mn-lt"/>
            </a:endParaRPr>
          </a:p>
        </p:txBody>
      </p:sp>
      <p:graphicFrame>
        <p:nvGraphicFramePr>
          <p:cNvPr id="3" name="Tabel 2">
            <a:extLst>
              <a:ext uri="{FF2B5EF4-FFF2-40B4-BE49-F238E27FC236}">
                <a16:creationId xmlns:a16="http://schemas.microsoft.com/office/drawing/2014/main" id="{513B81D3-5F40-AC5C-3C3E-57CA75C639F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9592977"/>
              </p:ext>
            </p:extLst>
          </p:nvPr>
        </p:nvGraphicFramePr>
        <p:xfrm>
          <a:off x="359351" y="555989"/>
          <a:ext cx="8425297" cy="453926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05891">
                  <a:extLst>
                    <a:ext uri="{9D8B030D-6E8A-4147-A177-3AD203B41FA5}">
                      <a16:colId xmlns:a16="http://schemas.microsoft.com/office/drawing/2014/main" val="3321995891"/>
                    </a:ext>
                  </a:extLst>
                </a:gridCol>
                <a:gridCol w="1440873">
                  <a:extLst>
                    <a:ext uri="{9D8B030D-6E8A-4147-A177-3AD203B41FA5}">
                      <a16:colId xmlns:a16="http://schemas.microsoft.com/office/drawing/2014/main" val="2955215365"/>
                    </a:ext>
                  </a:extLst>
                </a:gridCol>
                <a:gridCol w="4878533">
                  <a:extLst>
                    <a:ext uri="{9D8B030D-6E8A-4147-A177-3AD203B41FA5}">
                      <a16:colId xmlns:a16="http://schemas.microsoft.com/office/drawing/2014/main" val="1753789852"/>
                    </a:ext>
                  </a:extLst>
                </a:gridCol>
              </a:tblGrid>
              <a:tr h="407028">
                <a:tc>
                  <a:txBody>
                    <a:bodyPr/>
                    <a:lstStyle/>
                    <a:p>
                      <a:r>
                        <a:rPr lang="nl-NL" dirty="0"/>
                        <a:t>Area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noProof="0" dirty="0">
                          <a:solidFill>
                            <a:schemeClr val="bg1"/>
                          </a:solidFill>
                        </a:rPr>
                        <a:t>Main metric to track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noProof="0" dirty="0">
                          <a:solidFill>
                            <a:schemeClr val="bg1"/>
                          </a:solidFill>
                        </a:rPr>
                        <a:t>Description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8153853"/>
                  </a:ext>
                </a:extLst>
              </a:tr>
              <a:tr h="505702">
                <a:tc>
                  <a:txBody>
                    <a:bodyPr/>
                    <a:lstStyle/>
                    <a:p>
                      <a:r>
                        <a:rPr lang="en-GB" sz="1200" b="1" noProof="0" dirty="0"/>
                        <a:t>Process automation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noProof="0" dirty="0"/>
                        <a:t>Average handling tim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noProof="0" dirty="0"/>
                        <a:t>All efforts to reduce the time needed from personnel to execute operation tasks within operations.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25074988"/>
                  </a:ext>
                </a:extLst>
              </a:tr>
              <a:tr h="569839">
                <a:tc>
                  <a:txBody>
                    <a:bodyPr/>
                    <a:lstStyle/>
                    <a:p>
                      <a:r>
                        <a:rPr lang="en-GB" sz="1200" b="1" noProof="0" dirty="0"/>
                        <a:t>Data Quality improvements: cost saving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noProof="0" dirty="0"/>
                        <a:t>Asset data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noProof="0" dirty="0"/>
                        <a:t>Improvements in data quality to have our assets (hardware, accounts, customers, cards) synchronised between systems and correct.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90169322"/>
                  </a:ext>
                </a:extLst>
              </a:tr>
              <a:tr h="569839">
                <a:tc>
                  <a:txBody>
                    <a:bodyPr/>
                    <a:lstStyle/>
                    <a:p>
                      <a:r>
                        <a:rPr lang="en-GB" sz="1200" b="1" noProof="0" dirty="0"/>
                        <a:t>Data Quality improvements: revenue increas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noProof="0" dirty="0"/>
                        <a:t>Session/billing data, conversion rates.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noProof="0" dirty="0"/>
                        <a:t>Assuring that all sessions are correct in our processes and can be invoiced to our customers.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849587239"/>
                  </a:ext>
                </a:extLst>
              </a:tr>
              <a:tr h="552040">
                <a:tc>
                  <a:txBody>
                    <a:bodyPr/>
                    <a:lstStyle/>
                    <a:p>
                      <a:r>
                        <a:rPr lang="en-GB" sz="1200" b="1" noProof="0" dirty="0"/>
                        <a:t>Incident reduction / process stability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noProof="0" dirty="0"/>
                        <a:t>Contact volume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noProof="0" dirty="0"/>
                        <a:t>Assuring a steady business without large customer incidents leading to additional calls.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80861055"/>
                  </a:ext>
                </a:extLst>
              </a:tr>
              <a:tr h="569839">
                <a:tc>
                  <a:txBody>
                    <a:bodyPr/>
                    <a:lstStyle/>
                    <a:p>
                      <a:r>
                        <a:rPr lang="en-GB" sz="1200" b="1" noProof="0" dirty="0"/>
                        <a:t>Self Servic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noProof="0" dirty="0"/>
                        <a:t>Contact volumes, conversion rates on site.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noProof="0" dirty="0"/>
                        <a:t>Enabling efficient self service, by providing easy tool to our customers and automated interfaces towards our core systems.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39926447"/>
                  </a:ext>
                </a:extLst>
              </a:tr>
              <a:tr h="552040">
                <a:tc>
                  <a:txBody>
                    <a:bodyPr/>
                    <a:lstStyle/>
                    <a:p>
                      <a:r>
                        <a:rPr lang="en-GB" sz="1200" b="1" noProof="0" dirty="0"/>
                        <a:t>Contact reduction: FCR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noProof="0" dirty="0"/>
                        <a:t>Contact volumes, FTR, FCR.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noProof="0" dirty="0"/>
                        <a:t>Reducing the number of incoming call by focussing on first contact resolution (fixing the root cause).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86638895"/>
                  </a:ext>
                </a:extLst>
              </a:tr>
              <a:tr h="552040">
                <a:tc>
                  <a:txBody>
                    <a:bodyPr/>
                    <a:lstStyle/>
                    <a:p>
                      <a:r>
                        <a:rPr lang="en-GB" sz="1200" b="1" noProof="0" dirty="0"/>
                        <a:t>2</a:t>
                      </a:r>
                      <a:r>
                        <a:rPr lang="en-GB" sz="1200" b="1" baseline="30000" noProof="0" dirty="0"/>
                        <a:t>nd</a:t>
                      </a:r>
                      <a:r>
                        <a:rPr lang="en-GB" sz="1200" b="1" noProof="0" dirty="0"/>
                        <a:t> Tier reduction Customer Invest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noProof="0" dirty="0"/>
                        <a:t>Diver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noProof="0" dirty="0"/>
                        <a:t>All other savings after the first round of redundancy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060215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0977397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77260B7-3A63-1B15-94F5-7EB5497B8A4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E5826B6F-BE15-2BBE-2B20-11E4C2A7CF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E5826B6F-BE15-2BBE-2B20-11E4C2A7CF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20921DB-627E-977D-52A6-D4B58535D4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850" y="142697"/>
            <a:ext cx="8496300" cy="413292"/>
          </a:xfrm>
        </p:spPr>
        <p:txBody>
          <a:bodyPr vert="horz"/>
          <a:lstStyle/>
          <a:p>
            <a:r>
              <a:rPr lang="en-US" noProof="0" dirty="0">
                <a:effectLst/>
                <a:latin typeface="+mn-lt"/>
              </a:rPr>
              <a:t>Cost saving examples</a:t>
            </a:r>
            <a:endParaRPr lang="en-US" noProof="0" dirty="0">
              <a:latin typeface="+mn-lt"/>
            </a:endParaRPr>
          </a:p>
        </p:txBody>
      </p:sp>
      <p:graphicFrame>
        <p:nvGraphicFramePr>
          <p:cNvPr id="3" name="Tabel 2">
            <a:extLst>
              <a:ext uri="{FF2B5EF4-FFF2-40B4-BE49-F238E27FC236}">
                <a16:creationId xmlns:a16="http://schemas.microsoft.com/office/drawing/2014/main" id="{4ADB46E5-CE52-BA80-2B56-1A81285B025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9507136"/>
              </p:ext>
            </p:extLst>
          </p:nvPr>
        </p:nvGraphicFramePr>
        <p:xfrm>
          <a:off x="394854" y="722433"/>
          <a:ext cx="8555182" cy="427734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79494">
                  <a:extLst>
                    <a:ext uri="{9D8B030D-6E8A-4147-A177-3AD203B41FA5}">
                      <a16:colId xmlns:a16="http://schemas.microsoft.com/office/drawing/2014/main" val="3321995891"/>
                    </a:ext>
                  </a:extLst>
                </a:gridCol>
                <a:gridCol w="5975688">
                  <a:extLst>
                    <a:ext uri="{9D8B030D-6E8A-4147-A177-3AD203B41FA5}">
                      <a16:colId xmlns:a16="http://schemas.microsoft.com/office/drawing/2014/main" val="1753789852"/>
                    </a:ext>
                  </a:extLst>
                </a:gridCol>
              </a:tblGrid>
              <a:tr h="278297">
                <a:tc>
                  <a:txBody>
                    <a:bodyPr/>
                    <a:lstStyle/>
                    <a:p>
                      <a:r>
                        <a:rPr lang="nl-NL" dirty="0"/>
                        <a:t>Area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noProof="0" dirty="0">
                          <a:solidFill>
                            <a:schemeClr val="bg1"/>
                          </a:solidFill>
                        </a:rPr>
                        <a:t>Example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8153853"/>
                  </a:ext>
                </a:extLst>
              </a:tr>
              <a:tr h="571438">
                <a:tc>
                  <a:txBody>
                    <a:bodyPr/>
                    <a:lstStyle/>
                    <a:p>
                      <a:r>
                        <a:rPr lang="en-GB" sz="1200" b="1" noProof="0" dirty="0"/>
                        <a:t>Process automation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noProof="0" dirty="0"/>
                        <a:t>Make use of robots/</a:t>
                      </a:r>
                      <a:r>
                        <a:rPr lang="en-GB" sz="1200" noProof="0" dirty="0" err="1"/>
                        <a:t>keypressers</a:t>
                      </a:r>
                      <a:r>
                        <a:rPr lang="en-GB" sz="1200" noProof="0" dirty="0"/>
                        <a:t> as temporary solution.</a:t>
                      </a:r>
                    </a:p>
                    <a:p>
                      <a:r>
                        <a:rPr lang="en-GB" sz="1200" noProof="0" dirty="0"/>
                        <a:t>Automatic upload of batch files to prevent manual labour.</a:t>
                      </a:r>
                    </a:p>
                    <a:p>
                      <a:r>
                        <a:rPr lang="en-GB" sz="1200" noProof="0" dirty="0"/>
                        <a:t>Automated credit checks.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25074988"/>
                  </a:ext>
                </a:extLst>
              </a:tr>
              <a:tr h="470013">
                <a:tc>
                  <a:txBody>
                    <a:bodyPr/>
                    <a:lstStyle/>
                    <a:p>
                      <a:r>
                        <a:rPr lang="en-GB" sz="1200" b="1" noProof="0" dirty="0"/>
                        <a:t>Data Quality improvements: cost saving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noProof="0" dirty="0"/>
                        <a:t>Clean and prevent duplicate accounts in CRM</a:t>
                      </a:r>
                    </a:p>
                    <a:p>
                      <a:r>
                        <a:rPr lang="en-GB" sz="1200" noProof="0" dirty="0"/>
                        <a:t>Reduce mismatches between CRM and Portal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90169322"/>
                  </a:ext>
                </a:extLst>
              </a:tr>
              <a:tr h="439092">
                <a:tc>
                  <a:txBody>
                    <a:bodyPr/>
                    <a:lstStyle/>
                    <a:p>
                      <a:r>
                        <a:rPr lang="en-GB" sz="1200" b="1" noProof="0" dirty="0"/>
                        <a:t>Data Quality improvements: revenue increas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noProof="0" dirty="0"/>
                        <a:t>Check and correct session data.</a:t>
                      </a:r>
                    </a:p>
                    <a:p>
                      <a:r>
                        <a:rPr lang="en-GB" sz="1200" noProof="0" dirty="0"/>
                        <a:t>Reduce drop outs in billing processes to ensure correct invoice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849587239"/>
                  </a:ext>
                </a:extLst>
              </a:tr>
              <a:tr h="553589">
                <a:tc>
                  <a:txBody>
                    <a:bodyPr/>
                    <a:lstStyle/>
                    <a:p>
                      <a:r>
                        <a:rPr lang="en-GB" sz="1200" b="1" noProof="0" dirty="0"/>
                        <a:t>Incident reduction / process stability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noProof="0" dirty="0"/>
                        <a:t>Ensure correctness of all uploads to systems</a:t>
                      </a:r>
                    </a:p>
                    <a:p>
                      <a:r>
                        <a:rPr lang="en-GB" sz="1200" noProof="0" dirty="0"/>
                        <a:t>Implement dry runs for billing batche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80861055"/>
                  </a:ext>
                </a:extLst>
              </a:tr>
              <a:tr h="571438">
                <a:tc>
                  <a:txBody>
                    <a:bodyPr/>
                    <a:lstStyle/>
                    <a:p>
                      <a:r>
                        <a:rPr lang="en-GB" sz="1200" b="1" noProof="0" dirty="0"/>
                        <a:t>Self Servic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noProof="0" dirty="0"/>
                        <a:t>Self assign of cards</a:t>
                      </a:r>
                    </a:p>
                    <a:p>
                      <a:r>
                        <a:rPr lang="en-GB" sz="1200" noProof="0" dirty="0"/>
                        <a:t>Change bank account number in the portal</a:t>
                      </a:r>
                    </a:p>
                    <a:p>
                      <a:r>
                        <a:rPr lang="en-GB" sz="1200" noProof="0" dirty="0"/>
                        <a:t>Change customer details in the portal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39926447"/>
                  </a:ext>
                </a:extLst>
              </a:tr>
              <a:tr h="553589">
                <a:tc>
                  <a:txBody>
                    <a:bodyPr/>
                    <a:lstStyle/>
                    <a:p>
                      <a:r>
                        <a:rPr lang="en-GB" sz="1200" b="1" noProof="0" dirty="0"/>
                        <a:t>Contact reduction: FCR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noProof="0" dirty="0"/>
                        <a:t>Train 1</a:t>
                      </a:r>
                      <a:r>
                        <a:rPr lang="en-GB" sz="1200" baseline="30000" noProof="0" dirty="0"/>
                        <a:t>st</a:t>
                      </a:r>
                      <a:r>
                        <a:rPr lang="en-GB" sz="1200" noProof="0" dirty="0"/>
                        <a:t> line staff to handle 2</a:t>
                      </a:r>
                      <a:r>
                        <a:rPr lang="en-GB" sz="1200" baseline="30000" noProof="0" dirty="0"/>
                        <a:t>nd</a:t>
                      </a:r>
                      <a:r>
                        <a:rPr lang="en-GB" sz="1200" baseline="0" noProof="0" dirty="0"/>
                        <a:t> line work</a:t>
                      </a:r>
                    </a:p>
                    <a:p>
                      <a:endParaRPr lang="en-GB" sz="1200" baseline="30000" noProof="0" dirty="0"/>
                    </a:p>
                    <a:p>
                      <a:r>
                        <a:rPr lang="en-GB" sz="1200" baseline="30000" noProof="0" dirty="0"/>
                        <a:t> </a:t>
                      </a:r>
                      <a:r>
                        <a:rPr lang="en-GB" sz="1200" noProof="0" dirty="0"/>
                        <a:t>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86638895"/>
                  </a:ext>
                </a:extLst>
              </a:tr>
              <a:tr h="571438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1" noProof="0" dirty="0"/>
                        <a:t>2</a:t>
                      </a:r>
                      <a:r>
                        <a:rPr lang="en-GB" sz="1200" b="1" baseline="30000" noProof="0" dirty="0"/>
                        <a:t>nd</a:t>
                      </a:r>
                      <a:r>
                        <a:rPr lang="en-GB" sz="1200" b="1" noProof="0" dirty="0"/>
                        <a:t> Tier reduction Customer Invest</a:t>
                      </a:r>
                    </a:p>
                    <a:p>
                      <a:endParaRPr lang="en-GB" sz="1200" b="1" noProof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noProof="0" dirty="0"/>
                        <a:t>Reduction in operations/Transcom as less customer interaction is expected</a:t>
                      </a:r>
                    </a:p>
                    <a:p>
                      <a:r>
                        <a:rPr lang="en-GB" sz="1200" noProof="0" dirty="0"/>
                        <a:t>Warehouse can be smaller due to less products in stock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242008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4622935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9D1FD89-A46B-33FE-EE8F-15F5FA0F8E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3DBB730E-A952-50F1-B6CB-FE94062BC3E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3DBB730E-A952-50F1-B6CB-FE94062BC3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2276C17-2F98-6A8C-E135-57A779C743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850" y="142697"/>
            <a:ext cx="8496300" cy="413292"/>
          </a:xfrm>
        </p:spPr>
        <p:txBody>
          <a:bodyPr vert="horz"/>
          <a:lstStyle/>
          <a:p>
            <a:r>
              <a:rPr lang="en-US" noProof="0" dirty="0">
                <a:effectLst/>
                <a:latin typeface="+mn-lt"/>
              </a:rPr>
              <a:t>Operational cost savings 2026 and beyond OVERVIEW</a:t>
            </a:r>
            <a:endParaRPr lang="en-US" noProof="0" dirty="0">
              <a:latin typeface="+mn-lt"/>
            </a:endParaRPr>
          </a:p>
        </p:txBody>
      </p:sp>
      <p:graphicFrame>
        <p:nvGraphicFramePr>
          <p:cNvPr id="3" name="Tabel 2">
            <a:extLst>
              <a:ext uri="{FF2B5EF4-FFF2-40B4-BE49-F238E27FC236}">
                <a16:creationId xmlns:a16="http://schemas.microsoft.com/office/drawing/2014/main" id="{97E54862-2E8E-9E64-F96E-C8DF23D69281}"/>
              </a:ext>
            </a:extLst>
          </p:cNvPr>
          <p:cNvGraphicFramePr>
            <a:graphicFrameLocks noGrp="1"/>
          </p:cNvGraphicFramePr>
          <p:nvPr/>
        </p:nvGraphicFramePr>
        <p:xfrm>
          <a:off x="408708" y="792780"/>
          <a:ext cx="8496299" cy="398407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30582">
                  <a:extLst>
                    <a:ext uri="{9D8B030D-6E8A-4147-A177-3AD203B41FA5}">
                      <a16:colId xmlns:a16="http://schemas.microsoft.com/office/drawing/2014/main" val="3321995891"/>
                    </a:ext>
                  </a:extLst>
                </a:gridCol>
                <a:gridCol w="685800">
                  <a:extLst>
                    <a:ext uri="{9D8B030D-6E8A-4147-A177-3AD203B41FA5}">
                      <a16:colId xmlns:a16="http://schemas.microsoft.com/office/drawing/2014/main" val="2955215365"/>
                    </a:ext>
                  </a:extLst>
                </a:gridCol>
                <a:gridCol w="755073">
                  <a:extLst>
                    <a:ext uri="{9D8B030D-6E8A-4147-A177-3AD203B41FA5}">
                      <a16:colId xmlns:a16="http://schemas.microsoft.com/office/drawing/2014/main" val="1753789852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2695443506"/>
                    </a:ext>
                  </a:extLst>
                </a:gridCol>
                <a:gridCol w="692727">
                  <a:extLst>
                    <a:ext uri="{9D8B030D-6E8A-4147-A177-3AD203B41FA5}">
                      <a16:colId xmlns:a16="http://schemas.microsoft.com/office/drawing/2014/main" val="3570967415"/>
                    </a:ext>
                  </a:extLst>
                </a:gridCol>
                <a:gridCol w="640611">
                  <a:extLst>
                    <a:ext uri="{9D8B030D-6E8A-4147-A177-3AD203B41FA5}">
                      <a16:colId xmlns:a16="http://schemas.microsoft.com/office/drawing/2014/main" val="842725931"/>
                    </a:ext>
                  </a:extLst>
                </a:gridCol>
                <a:gridCol w="793847">
                  <a:extLst>
                    <a:ext uri="{9D8B030D-6E8A-4147-A177-3AD203B41FA5}">
                      <a16:colId xmlns:a16="http://schemas.microsoft.com/office/drawing/2014/main" val="1259053810"/>
                    </a:ext>
                  </a:extLst>
                </a:gridCol>
                <a:gridCol w="629356">
                  <a:extLst>
                    <a:ext uri="{9D8B030D-6E8A-4147-A177-3AD203B41FA5}">
                      <a16:colId xmlns:a16="http://schemas.microsoft.com/office/drawing/2014/main" val="2057586131"/>
                    </a:ext>
                  </a:extLst>
                </a:gridCol>
                <a:gridCol w="579293">
                  <a:extLst>
                    <a:ext uri="{9D8B030D-6E8A-4147-A177-3AD203B41FA5}">
                      <a16:colId xmlns:a16="http://schemas.microsoft.com/office/drawing/2014/main" val="1387969505"/>
                    </a:ext>
                  </a:extLst>
                </a:gridCol>
                <a:gridCol w="650810">
                  <a:extLst>
                    <a:ext uri="{9D8B030D-6E8A-4147-A177-3AD203B41FA5}">
                      <a16:colId xmlns:a16="http://schemas.microsoft.com/office/drawing/2014/main" val="3004135745"/>
                    </a:ext>
                  </a:extLst>
                </a:gridCol>
              </a:tblGrid>
              <a:tr h="347406">
                <a:tc rowSpan="2">
                  <a:txBody>
                    <a:bodyPr/>
                    <a:lstStyle/>
                    <a:p>
                      <a:r>
                        <a:rPr lang="en-GB" noProof="0" dirty="0"/>
                        <a:t>Area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nl-NL" sz="1200" dirty="0"/>
                        <a:t>Sweden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nl-NL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l-NL" dirty="0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nl-NL" sz="1200" dirty="0"/>
                        <a:t>Germany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nl-NL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l-NL" dirty="0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nl-NL" sz="1200" dirty="0"/>
                        <a:t>The Netherland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nl-NL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l-N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82506962"/>
                  </a:ext>
                </a:extLst>
              </a:tr>
              <a:tr h="275661">
                <a:tc vMerge="1">
                  <a:txBody>
                    <a:bodyPr/>
                    <a:lstStyle/>
                    <a:p>
                      <a:endParaRPr lang="nl-NL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noProof="0" dirty="0">
                          <a:solidFill>
                            <a:schemeClr val="bg1"/>
                          </a:solidFill>
                        </a:rPr>
                        <a:t>2026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noProof="0" dirty="0">
                          <a:solidFill>
                            <a:schemeClr val="bg1"/>
                          </a:solidFill>
                        </a:rPr>
                        <a:t>2027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noProof="0" dirty="0">
                          <a:solidFill>
                            <a:schemeClr val="bg1"/>
                          </a:solidFill>
                        </a:rPr>
                        <a:t>2028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noProof="0" dirty="0">
                          <a:solidFill>
                            <a:schemeClr val="bg1"/>
                          </a:solidFill>
                        </a:rPr>
                        <a:t>2026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noProof="0" dirty="0">
                          <a:solidFill>
                            <a:schemeClr val="bg1"/>
                          </a:solidFill>
                        </a:rPr>
                        <a:t>2027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noProof="0" dirty="0">
                          <a:solidFill>
                            <a:schemeClr val="bg1"/>
                          </a:solidFill>
                        </a:rPr>
                        <a:t>2028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noProof="0" dirty="0">
                          <a:solidFill>
                            <a:schemeClr val="bg1"/>
                          </a:solidFill>
                        </a:rPr>
                        <a:t>2026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noProof="0" dirty="0">
                          <a:solidFill>
                            <a:schemeClr val="bg1"/>
                          </a:solidFill>
                        </a:rPr>
                        <a:t>2027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noProof="0" dirty="0">
                          <a:solidFill>
                            <a:schemeClr val="bg1"/>
                          </a:solidFill>
                        </a:rPr>
                        <a:t>2028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8153853"/>
                  </a:ext>
                </a:extLst>
              </a:tr>
              <a:tr h="410429">
                <a:tc>
                  <a:txBody>
                    <a:bodyPr/>
                    <a:lstStyle/>
                    <a:p>
                      <a:r>
                        <a:rPr lang="en-GB" sz="1200" b="1" noProof="0" dirty="0"/>
                        <a:t>Process automation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GB" sz="1200" noProof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endParaRPr lang="en-GB" sz="12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 noProof="0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GB" sz="1200" noProof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endParaRPr lang="en-GB" sz="12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 noProof="0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GB" sz="1200" noProof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endParaRPr lang="en-GB" sz="12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 noProof="0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125074988"/>
                  </a:ext>
                </a:extLst>
              </a:tr>
              <a:tr h="465560">
                <a:tc>
                  <a:txBody>
                    <a:bodyPr/>
                    <a:lstStyle/>
                    <a:p>
                      <a:r>
                        <a:rPr lang="en-GB" sz="1200" b="1" noProof="0" dirty="0"/>
                        <a:t>Data Quality improvements: cost saving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GB" sz="1200" noProof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endParaRPr lang="en-GB" sz="12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 noProof="0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GB" sz="1200" noProof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endParaRPr lang="en-GB" sz="12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 noProof="0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GB" sz="1200" noProof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endParaRPr lang="en-GB" sz="12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 noProof="0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090169322"/>
                  </a:ext>
                </a:extLst>
              </a:tr>
              <a:tr h="434933">
                <a:tc>
                  <a:txBody>
                    <a:bodyPr/>
                    <a:lstStyle/>
                    <a:p>
                      <a:r>
                        <a:rPr lang="en-GB" sz="1200" b="1" noProof="0" dirty="0"/>
                        <a:t>Data Quality improvements: revenue increas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GB" sz="1200" noProof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endParaRPr lang="en-GB" sz="12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 noProof="0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GB" sz="1200" noProof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endParaRPr lang="en-GB" sz="12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 noProof="0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GB" sz="1200" noProof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endParaRPr lang="en-GB" sz="12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 noProof="0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849587239"/>
                  </a:ext>
                </a:extLst>
              </a:tr>
              <a:tr h="548345">
                <a:tc>
                  <a:txBody>
                    <a:bodyPr/>
                    <a:lstStyle/>
                    <a:p>
                      <a:r>
                        <a:rPr lang="en-GB" sz="1200" b="1" noProof="0" dirty="0"/>
                        <a:t>Incident reduction / process stability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GB" sz="1200" noProof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endParaRPr lang="en-GB" sz="12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 noProof="0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GB" sz="1200" noProof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endParaRPr lang="en-GB" sz="12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 noProof="0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GB" sz="1200" noProof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endParaRPr lang="en-GB" sz="12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 noProof="0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980861055"/>
                  </a:ext>
                </a:extLst>
              </a:tr>
              <a:tr h="382779">
                <a:tc>
                  <a:txBody>
                    <a:bodyPr/>
                    <a:lstStyle/>
                    <a:p>
                      <a:r>
                        <a:rPr lang="en-GB" sz="1200" b="1" noProof="0" dirty="0"/>
                        <a:t>Self Servic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GB" sz="1200" noProof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endParaRPr lang="en-GB" sz="12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 noProof="0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GB" sz="1200" noProof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endParaRPr lang="en-GB" sz="12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 noProof="0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GB" sz="1200" noProof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endParaRPr lang="en-GB" sz="12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 noProof="0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839926447"/>
                  </a:ext>
                </a:extLst>
              </a:tr>
              <a:tr h="548345">
                <a:tc>
                  <a:txBody>
                    <a:bodyPr/>
                    <a:lstStyle/>
                    <a:p>
                      <a:r>
                        <a:rPr lang="en-GB" sz="1200" b="1" noProof="0" dirty="0"/>
                        <a:t>Contact reduction: FCR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GB" sz="1200" noProof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endParaRPr lang="en-GB" sz="12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 noProof="0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GB" sz="1200" noProof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endParaRPr lang="en-GB" sz="12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 noProof="0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GB" sz="1200" noProof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endParaRPr lang="en-GB" sz="12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 noProof="0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686638895"/>
                  </a:ext>
                </a:extLst>
              </a:tr>
              <a:tr h="548345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1" noProof="0" dirty="0"/>
                        <a:t>2</a:t>
                      </a:r>
                      <a:r>
                        <a:rPr lang="en-GB" sz="1200" b="1" baseline="30000" noProof="0" dirty="0"/>
                        <a:t>nd</a:t>
                      </a:r>
                      <a:r>
                        <a:rPr lang="en-GB" sz="1200" b="1" noProof="0" dirty="0"/>
                        <a:t> Tier reduction Customer Invest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200" noProof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200" noProof="0" dirty="0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200" noProof="0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200" noProof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200" noProof="0" dirty="0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200" noProof="0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200" noProof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200" noProof="0" dirty="0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200" noProof="0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89818148"/>
                  </a:ext>
                </a:extLst>
              </a:tr>
            </a:tbl>
          </a:graphicData>
        </a:graphic>
      </p:graphicFrame>
      <p:sp>
        <p:nvSpPr>
          <p:cNvPr id="4" name="Tekstvak 3">
            <a:extLst>
              <a:ext uri="{FF2B5EF4-FFF2-40B4-BE49-F238E27FC236}">
                <a16:creationId xmlns:a16="http://schemas.microsoft.com/office/drawing/2014/main" id="{839FCC35-D14E-551A-813A-710F0ED58336}"/>
              </a:ext>
            </a:extLst>
          </p:cNvPr>
          <p:cNvSpPr txBox="1"/>
          <p:nvPr/>
        </p:nvSpPr>
        <p:spPr>
          <a:xfrm>
            <a:off x="5638800" y="4827279"/>
            <a:ext cx="403634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sz="1000" dirty="0"/>
              <a:t>All reductions in FTE/FTC (except </a:t>
            </a:r>
            <a:r>
              <a:rPr lang="en-GB" sz="1000" dirty="0" err="1"/>
              <a:t>revenu</a:t>
            </a:r>
            <a:r>
              <a:rPr lang="en-GB" sz="1000" dirty="0"/>
              <a:t> increase with DQ)</a:t>
            </a:r>
          </a:p>
        </p:txBody>
      </p:sp>
    </p:spTree>
    <p:extLst>
      <p:ext uri="{BB962C8B-B14F-4D97-AF65-F5344CB8AC3E}">
        <p14:creationId xmlns:p14="http://schemas.microsoft.com/office/powerpoint/2010/main" val="417020711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AB6D25-6361-15BA-1ADD-E09E76251F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33A6F985-69C9-EDDA-B066-73A64ECBD1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33A6F985-69C9-EDDA-B066-73A64ECBD1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208E7AE-5865-C1DF-6AF7-91EDB827D7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66660" y="1421267"/>
            <a:ext cx="4106866" cy="413292"/>
          </a:xfrm>
        </p:spPr>
        <p:txBody>
          <a:bodyPr vert="horz"/>
          <a:lstStyle/>
          <a:p>
            <a:r>
              <a:rPr lang="en-US" sz="4800" noProof="0" dirty="0">
                <a:effectLst/>
                <a:latin typeface="+mn-lt"/>
              </a:rPr>
              <a:t>DETAILS PER REGION</a:t>
            </a:r>
            <a:endParaRPr lang="en-US" sz="4800" noProof="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17612505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F2B10034-6A23-3207-5131-03434368419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5872067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F2B10034-6A23-3207-5131-0343436841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FB9B237-04B3-99EE-7274-373C439582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850" y="142697"/>
            <a:ext cx="8496300" cy="413292"/>
          </a:xfrm>
        </p:spPr>
        <p:txBody>
          <a:bodyPr vert="horz"/>
          <a:lstStyle/>
          <a:p>
            <a:r>
              <a:rPr lang="en-US" noProof="0" dirty="0">
                <a:effectLst/>
                <a:latin typeface="+mn-lt"/>
              </a:rPr>
              <a:t>Operational cost savings 2026 and beyond SE</a:t>
            </a:r>
            <a:endParaRPr lang="en-US" noProof="0" dirty="0">
              <a:latin typeface="+mn-lt"/>
            </a:endParaRPr>
          </a:p>
        </p:txBody>
      </p:sp>
      <p:graphicFrame>
        <p:nvGraphicFramePr>
          <p:cNvPr id="3" name="Tabel 2">
            <a:extLst>
              <a:ext uri="{FF2B5EF4-FFF2-40B4-BE49-F238E27FC236}">
                <a16:creationId xmlns:a16="http://schemas.microsoft.com/office/drawing/2014/main" id="{18CE1D20-A49A-537E-172C-78367944974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73891569"/>
              </p:ext>
            </p:extLst>
          </p:nvPr>
        </p:nvGraphicFramePr>
        <p:xfrm>
          <a:off x="408708" y="792780"/>
          <a:ext cx="8496300" cy="41502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59183">
                  <a:extLst>
                    <a:ext uri="{9D8B030D-6E8A-4147-A177-3AD203B41FA5}">
                      <a16:colId xmlns:a16="http://schemas.microsoft.com/office/drawing/2014/main" val="3321995891"/>
                    </a:ext>
                  </a:extLst>
                </a:gridCol>
                <a:gridCol w="2275609">
                  <a:extLst>
                    <a:ext uri="{9D8B030D-6E8A-4147-A177-3AD203B41FA5}">
                      <a16:colId xmlns:a16="http://schemas.microsoft.com/office/drawing/2014/main" val="2955215365"/>
                    </a:ext>
                  </a:extLst>
                </a:gridCol>
                <a:gridCol w="1963882">
                  <a:extLst>
                    <a:ext uri="{9D8B030D-6E8A-4147-A177-3AD203B41FA5}">
                      <a16:colId xmlns:a16="http://schemas.microsoft.com/office/drawing/2014/main" val="1753789852"/>
                    </a:ext>
                  </a:extLst>
                </a:gridCol>
                <a:gridCol w="1797626">
                  <a:extLst>
                    <a:ext uri="{9D8B030D-6E8A-4147-A177-3AD203B41FA5}">
                      <a16:colId xmlns:a16="http://schemas.microsoft.com/office/drawing/2014/main" val="2695443506"/>
                    </a:ext>
                  </a:extLst>
                </a:gridCol>
              </a:tblGrid>
              <a:tr h="347406">
                <a:tc rowSpan="2">
                  <a:txBody>
                    <a:bodyPr/>
                    <a:lstStyle/>
                    <a:p>
                      <a:r>
                        <a:rPr lang="en-GB" noProof="0" dirty="0"/>
                        <a:t>Area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nl-NL" sz="1200" dirty="0"/>
                        <a:t>Sweden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nl-NL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l-N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82506962"/>
                  </a:ext>
                </a:extLst>
              </a:tr>
              <a:tr h="275661">
                <a:tc vMerge="1">
                  <a:txBody>
                    <a:bodyPr/>
                    <a:lstStyle/>
                    <a:p>
                      <a:endParaRPr lang="nl-NL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noProof="0" dirty="0">
                          <a:solidFill>
                            <a:schemeClr val="bg1"/>
                          </a:solidFill>
                        </a:rPr>
                        <a:t>2026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noProof="0" dirty="0">
                          <a:solidFill>
                            <a:schemeClr val="bg1"/>
                          </a:solidFill>
                        </a:rPr>
                        <a:t>2027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noProof="0" dirty="0">
                          <a:solidFill>
                            <a:schemeClr val="bg1"/>
                          </a:solidFill>
                        </a:rPr>
                        <a:t>2028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8153853"/>
                  </a:ext>
                </a:extLst>
              </a:tr>
              <a:tr h="410429">
                <a:tc>
                  <a:txBody>
                    <a:bodyPr/>
                    <a:lstStyle/>
                    <a:p>
                      <a:r>
                        <a:rPr lang="en-GB" sz="1200" b="1" noProof="0" dirty="0"/>
                        <a:t>Process automation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GB" sz="1200" noProof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endParaRPr lang="en-GB" sz="12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 noProof="0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125074988"/>
                  </a:ext>
                </a:extLst>
              </a:tr>
              <a:tr h="465560">
                <a:tc>
                  <a:txBody>
                    <a:bodyPr/>
                    <a:lstStyle/>
                    <a:p>
                      <a:r>
                        <a:rPr lang="en-GB" sz="1200" b="1" noProof="0" dirty="0"/>
                        <a:t>Data Quality improvements: cost saving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GB" sz="1200" noProof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endParaRPr lang="en-GB" sz="12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 noProof="0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090169322"/>
                  </a:ext>
                </a:extLst>
              </a:tr>
              <a:tr h="366752">
                <a:tc>
                  <a:txBody>
                    <a:bodyPr/>
                    <a:lstStyle/>
                    <a:p>
                      <a:r>
                        <a:rPr lang="en-GB" sz="1200" b="1" noProof="0" dirty="0"/>
                        <a:t>Data Quality improvements: revenue increas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200" b="0" i="0" u="none" strike="noStrike" noProof="0">
                          <a:solidFill>
                            <a:srgbClr val="000000"/>
                          </a:solidFill>
                          <a:latin typeface="Arial"/>
                        </a:rPr>
                        <a:t>Significant, but not yet quantified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endParaRPr lang="en-GB" sz="12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 noProof="0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849587239"/>
                  </a:ext>
                </a:extLst>
              </a:tr>
              <a:tr h="548345">
                <a:tc>
                  <a:txBody>
                    <a:bodyPr/>
                    <a:lstStyle/>
                    <a:p>
                      <a:r>
                        <a:rPr lang="en-GB" sz="1200" b="1" noProof="0" dirty="0"/>
                        <a:t>Incident reduction / process stability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GB" sz="1200" noProof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endParaRPr lang="en-GB" sz="12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 noProof="0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980861055"/>
                  </a:ext>
                </a:extLst>
              </a:tr>
              <a:tr h="382779">
                <a:tc>
                  <a:txBody>
                    <a:bodyPr/>
                    <a:lstStyle/>
                    <a:p>
                      <a:r>
                        <a:rPr lang="en-GB" sz="1200" b="1" noProof="0" dirty="0"/>
                        <a:t>Self Servic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noProof="0"/>
                        <a:t>Self assign cards / updating contract information: 100K</a:t>
                      </a:r>
                      <a:endParaRPr lang="en-GB" sz="1200" noProof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endParaRPr lang="en-GB" sz="12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 noProof="0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839926447"/>
                  </a:ext>
                </a:extLst>
              </a:tr>
              <a:tr h="548345">
                <a:tc>
                  <a:txBody>
                    <a:bodyPr/>
                    <a:lstStyle/>
                    <a:p>
                      <a:r>
                        <a:rPr lang="en-GB" sz="1200" b="1" noProof="0" dirty="0"/>
                        <a:t>Contact reduction: FCR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200" b="0" i="0" u="none" strike="noStrike" noProof="0">
                          <a:solidFill>
                            <a:srgbClr val="000000"/>
                          </a:solidFill>
                          <a:latin typeface="Arial"/>
                        </a:rPr>
                        <a:t>No FTE savings expected, but possible cost savings in Customer Service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endParaRPr lang="en-GB" sz="12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 noProof="0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686638895"/>
                  </a:ext>
                </a:extLst>
              </a:tr>
              <a:tr h="548345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1" noProof="0" dirty="0"/>
                        <a:t>2</a:t>
                      </a:r>
                      <a:r>
                        <a:rPr lang="en-GB" sz="1200" b="1" baseline="30000" noProof="0" dirty="0"/>
                        <a:t>nd</a:t>
                      </a:r>
                      <a:r>
                        <a:rPr lang="en-GB" sz="1200" b="1" noProof="0" dirty="0"/>
                        <a:t> Tier reduction Customer Invest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200" noProof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noProof="0"/>
                        <a:t>25% Opex reduction</a:t>
                      </a:r>
                      <a:endParaRPr lang="en-GB" sz="1200" noProof="0" dirty="0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200" noProof="0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89818148"/>
                  </a:ext>
                </a:extLst>
              </a:tr>
            </a:tbl>
          </a:graphicData>
        </a:graphic>
      </p:graphicFrame>
      <p:sp>
        <p:nvSpPr>
          <p:cNvPr id="4" name="Tekstvak 3">
            <a:extLst>
              <a:ext uri="{FF2B5EF4-FFF2-40B4-BE49-F238E27FC236}">
                <a16:creationId xmlns:a16="http://schemas.microsoft.com/office/drawing/2014/main" id="{7CAD2A4D-7AE1-E515-1318-16969D744D3D}"/>
              </a:ext>
            </a:extLst>
          </p:cNvPr>
          <p:cNvSpPr txBox="1"/>
          <p:nvPr/>
        </p:nvSpPr>
        <p:spPr>
          <a:xfrm>
            <a:off x="5638800" y="4827279"/>
            <a:ext cx="403634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sz="1000" dirty="0"/>
              <a:t>All reductions in FTE/FTC (except </a:t>
            </a:r>
            <a:r>
              <a:rPr lang="en-GB" sz="1000" dirty="0" err="1"/>
              <a:t>revenu</a:t>
            </a:r>
            <a:r>
              <a:rPr lang="en-GB" sz="1000" dirty="0"/>
              <a:t> increase with DQ)</a:t>
            </a:r>
          </a:p>
        </p:txBody>
      </p:sp>
    </p:spTree>
    <p:extLst>
      <p:ext uri="{BB962C8B-B14F-4D97-AF65-F5344CB8AC3E}">
        <p14:creationId xmlns:p14="http://schemas.microsoft.com/office/powerpoint/2010/main" val="227998734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37F76A9-AB1F-CB83-450B-9BEC3A4312B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A3381B0-C698-FA00-D3F9-CAE9299D06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A3381B0-C698-FA00-D3F9-CAE9299D06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9FBBC69-C642-2094-E55E-B6A29D369E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850" y="142697"/>
            <a:ext cx="8496300" cy="413292"/>
          </a:xfrm>
        </p:spPr>
        <p:txBody>
          <a:bodyPr vert="horz"/>
          <a:lstStyle/>
          <a:p>
            <a:r>
              <a:rPr lang="en-US" noProof="0" dirty="0">
                <a:effectLst/>
                <a:latin typeface="+mn-lt"/>
              </a:rPr>
              <a:t>Operational cost savings 2026 and beyond GER</a:t>
            </a:r>
            <a:endParaRPr lang="en-US" noProof="0" dirty="0">
              <a:latin typeface="+mn-lt"/>
            </a:endParaRPr>
          </a:p>
        </p:txBody>
      </p:sp>
      <p:graphicFrame>
        <p:nvGraphicFramePr>
          <p:cNvPr id="3" name="Tabel 2">
            <a:extLst>
              <a:ext uri="{FF2B5EF4-FFF2-40B4-BE49-F238E27FC236}">
                <a16:creationId xmlns:a16="http://schemas.microsoft.com/office/drawing/2014/main" id="{F88D6E3B-3831-7582-5A32-033021FB7C5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4280921"/>
              </p:ext>
            </p:extLst>
          </p:nvPr>
        </p:nvGraphicFramePr>
        <p:xfrm>
          <a:off x="323850" y="555989"/>
          <a:ext cx="8496300" cy="447102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59183">
                  <a:extLst>
                    <a:ext uri="{9D8B030D-6E8A-4147-A177-3AD203B41FA5}">
                      <a16:colId xmlns:a16="http://schemas.microsoft.com/office/drawing/2014/main" val="3321995891"/>
                    </a:ext>
                  </a:extLst>
                </a:gridCol>
                <a:gridCol w="2275609">
                  <a:extLst>
                    <a:ext uri="{9D8B030D-6E8A-4147-A177-3AD203B41FA5}">
                      <a16:colId xmlns:a16="http://schemas.microsoft.com/office/drawing/2014/main" val="2955215365"/>
                    </a:ext>
                  </a:extLst>
                </a:gridCol>
                <a:gridCol w="1963882">
                  <a:extLst>
                    <a:ext uri="{9D8B030D-6E8A-4147-A177-3AD203B41FA5}">
                      <a16:colId xmlns:a16="http://schemas.microsoft.com/office/drawing/2014/main" val="1753789852"/>
                    </a:ext>
                  </a:extLst>
                </a:gridCol>
                <a:gridCol w="1797626">
                  <a:extLst>
                    <a:ext uri="{9D8B030D-6E8A-4147-A177-3AD203B41FA5}">
                      <a16:colId xmlns:a16="http://schemas.microsoft.com/office/drawing/2014/main" val="2695443506"/>
                    </a:ext>
                  </a:extLst>
                </a:gridCol>
              </a:tblGrid>
              <a:tr h="347406">
                <a:tc rowSpan="2">
                  <a:txBody>
                    <a:bodyPr/>
                    <a:lstStyle/>
                    <a:p>
                      <a:r>
                        <a:rPr lang="en-GB" noProof="0" dirty="0"/>
                        <a:t>Area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nl-NL" sz="1200" dirty="0"/>
                        <a:t>Germany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nl-NL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l-N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82506962"/>
                  </a:ext>
                </a:extLst>
              </a:tr>
              <a:tr h="275661">
                <a:tc vMerge="1">
                  <a:txBody>
                    <a:bodyPr/>
                    <a:lstStyle/>
                    <a:p>
                      <a:endParaRPr lang="nl-NL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noProof="0" dirty="0">
                          <a:solidFill>
                            <a:schemeClr val="bg1"/>
                          </a:solidFill>
                        </a:rPr>
                        <a:t>2026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noProof="0" dirty="0">
                          <a:solidFill>
                            <a:schemeClr val="bg1"/>
                          </a:solidFill>
                        </a:rPr>
                        <a:t>2027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noProof="0" dirty="0">
                          <a:solidFill>
                            <a:schemeClr val="bg1"/>
                          </a:solidFill>
                        </a:rPr>
                        <a:t>2028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8153853"/>
                  </a:ext>
                </a:extLst>
              </a:tr>
              <a:tr h="410429">
                <a:tc>
                  <a:txBody>
                    <a:bodyPr/>
                    <a:lstStyle/>
                    <a:p>
                      <a:r>
                        <a:rPr lang="en-GB" sz="1200" b="1" noProof="0" dirty="0"/>
                        <a:t>Process automation: FOCUS ON ASSET MANAGEMENT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noProof="0" dirty="0"/>
                        <a:t>Case automation on “malfunction cases”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noProof="0" dirty="0"/>
                        <a:t>General process improvements: 1 FTE reduc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noProof="0" dirty="0"/>
                        <a:t>Continuous improvement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125074988"/>
                  </a:ext>
                </a:extLst>
              </a:tr>
              <a:tr h="465560">
                <a:tc>
                  <a:txBody>
                    <a:bodyPr/>
                    <a:lstStyle/>
                    <a:p>
                      <a:r>
                        <a:rPr lang="en-GB" sz="1200" b="1" noProof="0" dirty="0"/>
                        <a:t>Data Quality improvements: cost saving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noProof="0" dirty="0"/>
                        <a:t>Card process improvements: 0.3 FT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noProof="0" dirty="0"/>
                        <a:t>General DQ improvements: 1,0 F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noProof="0" dirty="0"/>
                        <a:t>Continuous improvement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090169322"/>
                  </a:ext>
                </a:extLst>
              </a:tr>
              <a:tr h="366752">
                <a:tc>
                  <a:txBody>
                    <a:bodyPr/>
                    <a:lstStyle/>
                    <a:p>
                      <a:r>
                        <a:rPr lang="en-GB" sz="1200" b="1" noProof="0" dirty="0"/>
                        <a:t>Data Quality improvements: revenue increas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GB" sz="1200" noProof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noProof="0" dirty="0"/>
                        <a:t>Optimize dunning process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noProof="0" dirty="0"/>
                        <a:t>Continuous improvement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849587239"/>
                  </a:ext>
                </a:extLst>
              </a:tr>
              <a:tr h="548345">
                <a:tc>
                  <a:txBody>
                    <a:bodyPr/>
                    <a:lstStyle/>
                    <a:p>
                      <a:r>
                        <a:rPr lang="en-GB" sz="1200" b="1" noProof="0" dirty="0"/>
                        <a:t>Incident reduction / process stability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GB" sz="1200" noProof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endParaRPr lang="en-GB" sz="12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 noProof="0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980861055"/>
                  </a:ext>
                </a:extLst>
              </a:tr>
              <a:tr h="382779">
                <a:tc>
                  <a:txBody>
                    <a:bodyPr/>
                    <a:lstStyle/>
                    <a:p>
                      <a:r>
                        <a:rPr lang="en-GB" sz="1200" b="1" noProof="0" dirty="0"/>
                        <a:t>Self Servic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noProof="0" dirty="0"/>
                        <a:t>Self Assign Cards: 80K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noProof="0" dirty="0"/>
                        <a:t>Full functional Self Service: 15% OPEX reduction Transcom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 noProof="0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839926447"/>
                  </a:ext>
                </a:extLst>
              </a:tr>
              <a:tr h="548345">
                <a:tc>
                  <a:txBody>
                    <a:bodyPr/>
                    <a:lstStyle/>
                    <a:p>
                      <a:r>
                        <a:rPr lang="en-GB" sz="1200" b="1" noProof="0" dirty="0"/>
                        <a:t>Contact reduction: FCR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noProof="0" dirty="0"/>
                        <a:t>Reduce 2</a:t>
                      </a:r>
                      <a:r>
                        <a:rPr lang="en-GB" sz="1200" baseline="30000" noProof="0" dirty="0"/>
                        <a:t>nd</a:t>
                      </a:r>
                      <a:r>
                        <a:rPr lang="en-GB" sz="1200" noProof="0" dirty="0"/>
                        <a:t> line calls billing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noProof="0" dirty="0"/>
                        <a:t>Voice Bots: 20% cost reduc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 noProof="0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686638895"/>
                  </a:ext>
                </a:extLst>
              </a:tr>
              <a:tr h="548345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1" noProof="0" dirty="0"/>
                        <a:t>2</a:t>
                      </a:r>
                      <a:r>
                        <a:rPr lang="en-GB" sz="1200" b="1" baseline="30000" noProof="0" dirty="0"/>
                        <a:t>nd</a:t>
                      </a:r>
                      <a:r>
                        <a:rPr lang="en-GB" sz="1200" b="1" noProof="0" dirty="0"/>
                        <a:t> Tier reduction Customer Invest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200" noProof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noProof="0" dirty="0"/>
                        <a:t>Reduced portal development.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200" noProof="0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8981814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5669994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3AB06DA-D607-9E93-BAC2-41E4D5C1F9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9D7268EC-446B-0F6A-B2D0-5C8ED5E1C3B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9D7268EC-446B-0F6A-B2D0-5C8ED5E1C3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D661114-1A44-8017-AC58-FABD743B8B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850" y="142697"/>
            <a:ext cx="8496300" cy="413292"/>
          </a:xfrm>
        </p:spPr>
        <p:txBody>
          <a:bodyPr vert="horz"/>
          <a:lstStyle/>
          <a:p>
            <a:r>
              <a:rPr lang="en-US" noProof="0" dirty="0">
                <a:effectLst/>
                <a:latin typeface="+mn-lt"/>
              </a:rPr>
              <a:t>Operational cost savings 2026 and beyond NL</a:t>
            </a:r>
            <a:endParaRPr lang="en-US" noProof="0" dirty="0">
              <a:latin typeface="+mn-lt"/>
            </a:endParaRPr>
          </a:p>
        </p:txBody>
      </p:sp>
      <p:graphicFrame>
        <p:nvGraphicFramePr>
          <p:cNvPr id="3" name="Tabel 2">
            <a:extLst>
              <a:ext uri="{FF2B5EF4-FFF2-40B4-BE49-F238E27FC236}">
                <a16:creationId xmlns:a16="http://schemas.microsoft.com/office/drawing/2014/main" id="{26D8D8CF-FA3F-2E33-40F1-6EB38410BAC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9068580"/>
              </p:ext>
            </p:extLst>
          </p:nvPr>
        </p:nvGraphicFramePr>
        <p:xfrm>
          <a:off x="408708" y="792780"/>
          <a:ext cx="8496300" cy="400246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59183">
                  <a:extLst>
                    <a:ext uri="{9D8B030D-6E8A-4147-A177-3AD203B41FA5}">
                      <a16:colId xmlns:a16="http://schemas.microsoft.com/office/drawing/2014/main" val="3321995891"/>
                    </a:ext>
                  </a:extLst>
                </a:gridCol>
                <a:gridCol w="2275609">
                  <a:extLst>
                    <a:ext uri="{9D8B030D-6E8A-4147-A177-3AD203B41FA5}">
                      <a16:colId xmlns:a16="http://schemas.microsoft.com/office/drawing/2014/main" val="2955215365"/>
                    </a:ext>
                  </a:extLst>
                </a:gridCol>
                <a:gridCol w="1963882">
                  <a:extLst>
                    <a:ext uri="{9D8B030D-6E8A-4147-A177-3AD203B41FA5}">
                      <a16:colId xmlns:a16="http://schemas.microsoft.com/office/drawing/2014/main" val="1753789852"/>
                    </a:ext>
                  </a:extLst>
                </a:gridCol>
                <a:gridCol w="1797626">
                  <a:extLst>
                    <a:ext uri="{9D8B030D-6E8A-4147-A177-3AD203B41FA5}">
                      <a16:colId xmlns:a16="http://schemas.microsoft.com/office/drawing/2014/main" val="2695443506"/>
                    </a:ext>
                  </a:extLst>
                </a:gridCol>
              </a:tblGrid>
              <a:tr h="322761">
                <a:tc rowSpan="2">
                  <a:txBody>
                    <a:bodyPr/>
                    <a:lstStyle/>
                    <a:p>
                      <a:r>
                        <a:rPr lang="en-GB" noProof="0" dirty="0"/>
                        <a:t>Area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nl-NL" sz="1200" dirty="0"/>
                        <a:t>The Netherland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nl-NL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l-N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82506962"/>
                  </a:ext>
                </a:extLst>
              </a:tr>
              <a:tr h="256106">
                <a:tc vMerge="1">
                  <a:txBody>
                    <a:bodyPr/>
                    <a:lstStyle/>
                    <a:p>
                      <a:endParaRPr lang="nl-NL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noProof="0" dirty="0">
                          <a:solidFill>
                            <a:schemeClr val="bg1"/>
                          </a:solidFill>
                        </a:rPr>
                        <a:t>2026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noProof="0" dirty="0">
                          <a:solidFill>
                            <a:schemeClr val="bg1"/>
                          </a:solidFill>
                        </a:rPr>
                        <a:t>2027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noProof="0" dirty="0">
                          <a:solidFill>
                            <a:schemeClr val="bg1"/>
                          </a:solidFill>
                        </a:rPr>
                        <a:t>2028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8153853"/>
                  </a:ext>
                </a:extLst>
              </a:tr>
              <a:tr h="552197">
                <a:tc>
                  <a:txBody>
                    <a:bodyPr/>
                    <a:lstStyle/>
                    <a:p>
                      <a:r>
                        <a:rPr lang="en-GB" sz="1200" b="1" noProof="0" dirty="0"/>
                        <a:t>Process automation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GB" sz="1100" noProof="0" dirty="0"/>
                        <a:t>Automated E-Contracts</a:t>
                      </a:r>
                    </a:p>
                    <a:p>
                      <a:r>
                        <a:rPr lang="en-GB" sz="1100" noProof="0" dirty="0"/>
                        <a:t>MRA-E integration in CRM</a:t>
                      </a:r>
                    </a:p>
                    <a:p>
                      <a:r>
                        <a:rPr lang="en-GB" sz="1100" noProof="0" dirty="0"/>
                        <a:t>AMIT: Field service App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r>
                        <a:rPr lang="en-GB" sz="1100" noProof="0" dirty="0"/>
                        <a:t>API for grid connectio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noProof="0" dirty="0"/>
                        <a:t>Continuous improvement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125074988"/>
                  </a:ext>
                </a:extLst>
              </a:tr>
              <a:tr h="432534">
                <a:tc>
                  <a:txBody>
                    <a:bodyPr/>
                    <a:lstStyle/>
                    <a:p>
                      <a:r>
                        <a:rPr lang="en-GB" sz="1200" b="1" noProof="0" dirty="0"/>
                        <a:t>Data Quality improvements: cost saving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GB" sz="1100" noProof="0" dirty="0"/>
                        <a:t>Fraud prevention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endParaRPr lang="en-GB" sz="11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noProof="0" dirty="0"/>
                        <a:t>Continuous improvement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090169322"/>
                  </a:ext>
                </a:extLst>
              </a:tr>
              <a:tr h="424767">
                <a:tc>
                  <a:txBody>
                    <a:bodyPr/>
                    <a:lstStyle/>
                    <a:p>
                      <a:r>
                        <a:rPr lang="en-GB" sz="1200" b="1" noProof="0" dirty="0"/>
                        <a:t>Data Quality improvements: revenue increas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GB" sz="1100" noProof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r>
                        <a:rPr lang="en-GB" sz="1100" noProof="0" dirty="0"/>
                        <a:t>Optimize dunning process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noProof="0" dirty="0"/>
                        <a:t>Continuous improvement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849587239"/>
                  </a:ext>
                </a:extLst>
              </a:tr>
              <a:tr h="424767">
                <a:tc>
                  <a:txBody>
                    <a:bodyPr/>
                    <a:lstStyle/>
                    <a:p>
                      <a:r>
                        <a:rPr lang="en-GB" sz="1200" b="1" noProof="0" dirty="0"/>
                        <a:t>Incident reduction / process stability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GB" sz="1100" noProof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endParaRPr lang="en-GB" sz="11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100" noProof="0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980861055"/>
                  </a:ext>
                </a:extLst>
              </a:tr>
              <a:tr h="552197">
                <a:tc>
                  <a:txBody>
                    <a:bodyPr/>
                    <a:lstStyle/>
                    <a:p>
                      <a:r>
                        <a:rPr lang="en-GB" sz="1200" b="1" noProof="0" dirty="0"/>
                        <a:t>Self Servic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GB" sz="1100" noProof="0" dirty="0"/>
                        <a:t>Self Assign Cards: 300K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r>
                        <a:rPr lang="en-GB" sz="1100" noProof="0" dirty="0"/>
                        <a:t>Full functional Self Service: 10% OPEX reduction in OPS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100" noProof="0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839926447"/>
                  </a:ext>
                </a:extLst>
              </a:tr>
              <a:tr h="335620">
                <a:tc>
                  <a:txBody>
                    <a:bodyPr/>
                    <a:lstStyle/>
                    <a:p>
                      <a:r>
                        <a:rPr lang="en-GB" sz="1200" b="1" noProof="0" dirty="0"/>
                        <a:t>Contact reduction: FCR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GB" sz="1100" noProof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endParaRPr lang="en-GB" sz="11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100" noProof="0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686638895"/>
                  </a:ext>
                </a:extLst>
              </a:tr>
              <a:tr h="509446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1" noProof="0" dirty="0"/>
                        <a:t>2</a:t>
                      </a:r>
                      <a:r>
                        <a:rPr lang="en-GB" sz="1200" b="1" baseline="30000" noProof="0" dirty="0"/>
                        <a:t>nd</a:t>
                      </a:r>
                      <a:r>
                        <a:rPr lang="en-GB" sz="1200" b="1" noProof="0" dirty="0"/>
                        <a:t> Tier reduction Customer Invest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noProof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100" noProof="0" dirty="0"/>
                        <a:t>Reduced portal development.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noProof="0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8981814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594423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THINKCELLPRESENTATIONDONOTDELETE" val="&lt;?xml version=&quot;1.0&quot; encoding=&quot;UTF-16&quot; standalone=&quot;yes&quot;?&gt;&lt;root reqver=&quot;28224&quot;&gt;&lt;version val=&quot;3571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2&quot;&gt;&lt;elem m_fUsage=&quot;2.43900000000000005684E+00&quot;&gt;&lt;m_msothmcolidx val=&quot;0&quot;/&gt;&lt;m_rgb r=&quot;CD&quot; g=&quot;E3&quot; b=&quot;F6&quot;/&gt;&lt;/elem&gt;&lt;elem m_fUsage=&quot;1.00000000000000000000E+00&quot;&gt;&lt;m_msothmcolidx val=&quot;0&quot;/&gt;&lt;m_rgb r=&quot;FA&quot; g=&quot;D3&quot; b=&quot;D1&quot;/&gt;&lt;/elem&gt;&lt;/m_vecMRU&gt;&lt;/m_mruColor&gt;&lt;m_eweekdayFirstOfWeek val=&quot;2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Vattenfall Documentation">
  <a:themeElements>
    <a:clrScheme name="Vattenfall">
      <a:dk1>
        <a:srgbClr val="000000"/>
      </a:dk1>
      <a:lt1>
        <a:srgbClr val="FFFFFF"/>
      </a:lt1>
      <a:dk2>
        <a:srgbClr val="000000"/>
      </a:dk2>
      <a:lt2>
        <a:srgbClr val="F2F2F2"/>
      </a:lt2>
      <a:accent1>
        <a:srgbClr val="2071B5"/>
      </a:accent1>
      <a:accent2>
        <a:srgbClr val="FFDA00"/>
      </a:accent2>
      <a:accent3>
        <a:srgbClr val="4E4B48"/>
      </a:accent3>
      <a:accent4>
        <a:srgbClr val="1E324F"/>
      </a:accent4>
      <a:accent5>
        <a:srgbClr val="3DC07C"/>
      </a:accent5>
      <a:accent6>
        <a:srgbClr val="005C63"/>
      </a:accent6>
      <a:hlink>
        <a:srgbClr val="2071B5"/>
      </a:hlink>
      <a:folHlink>
        <a:srgbClr val="2071B5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-tem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accent1"/>
          </a:solidFill>
          <a:headEnd type="none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sz="1200" dirty="0" err="1" smtClean="0"/>
        </a:defPPr>
      </a:lstStyle>
    </a:txDef>
  </a:objectDefaults>
  <a:extraClrSchemeLst/>
  <a:custClrLst>
    <a:custClr name="Pink">
      <a:srgbClr val="D1266B"/>
    </a:custClr>
    <a:custClr name="Dark Purple">
      <a:srgbClr val="85254B"/>
    </a:custClr>
    <a:custClr name="Red">
      <a:srgbClr val="F93B18"/>
    </a:custClr>
    <a:custClr name="Purple">
      <a:srgbClr val="9B62C3"/>
    </a:custClr>
    <a:custClr name="Light Yellow">
      <a:srgbClr val="FFFEE5"/>
    </a:custClr>
    <a:custClr name="Light Blue">
      <a:srgbClr val="EBF2F3"/>
    </a:custClr>
    <a:custClr name="Light Green">
      <a:srgbClr val="EDF9F3"/>
    </a:custClr>
    <a:custClr name="Light Red">
      <a:srgbClr val="FEF0EA"/>
    </a:custClr>
    <a:custClr name="Hydro">
      <a:srgbClr val="2DA55D"/>
    </a:custClr>
    <a:custClr name="Wind">
      <a:srgbClr val="4FCC51"/>
    </a:custClr>
    <a:custClr name="Solar">
      <a:srgbClr val="81E0A8"/>
    </a:custClr>
    <a:custClr name="Biomass">
      <a:srgbClr val="375E4E"/>
    </a:custClr>
    <a:custClr name="Coal">
      <a:srgbClr val="E88A74"/>
    </a:custClr>
    <a:custClr name="Gas">
      <a:srgbClr val="D85067"/>
    </a:custClr>
    <a:custClr name="Nuclear">
      <a:srgbClr val="213D5E"/>
    </a:custClr>
    <a:custClr name="District Heating">
      <a:srgbClr val="A376CC"/>
    </a:custClr>
  </a:custClrLst>
  <a:extLst>
    <a:ext uri="{05A4C25C-085E-4340-85A3-A5531E510DB2}">
      <thm15:themeFamily xmlns:thm15="http://schemas.microsoft.com/office/thememl/2012/main" name="Vattenfall_PPT_Template_Eng (mod).potx" id="{2CE8DB2E-BA6D-4E51-8BE6-3E614F025AC2}" vid="{74055007-C388-4285-9263-98C6948B5E24}"/>
    </a:ext>
  </a:extLst>
</a:theme>
</file>

<file path=ppt/theme/theme2.xml><?xml version="1.0" encoding="utf-8"?>
<a:theme xmlns:a="http://schemas.openxmlformats.org/drawingml/2006/main" name="Vattenfall Presentation">
  <a:themeElements>
    <a:clrScheme name="Vattenfall">
      <a:dk1>
        <a:srgbClr val="000000"/>
      </a:dk1>
      <a:lt1>
        <a:srgbClr val="FFFFFF"/>
      </a:lt1>
      <a:dk2>
        <a:srgbClr val="000000"/>
      </a:dk2>
      <a:lt2>
        <a:srgbClr val="F2F2F2"/>
      </a:lt2>
      <a:accent1>
        <a:srgbClr val="2071B5"/>
      </a:accent1>
      <a:accent2>
        <a:srgbClr val="FFDA00"/>
      </a:accent2>
      <a:accent3>
        <a:srgbClr val="4E4B48"/>
      </a:accent3>
      <a:accent4>
        <a:srgbClr val="1E324F"/>
      </a:accent4>
      <a:accent5>
        <a:srgbClr val="3DC07C"/>
      </a:accent5>
      <a:accent6>
        <a:srgbClr val="005C63"/>
      </a:accent6>
      <a:hlink>
        <a:srgbClr val="2071B5"/>
      </a:hlink>
      <a:folHlink>
        <a:srgbClr val="2071B5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-tem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accent1"/>
          </a:solidFill>
          <a:headEnd type="none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sz="1400" dirty="0" err="1" smtClean="0"/>
        </a:defPPr>
      </a:lstStyle>
    </a:txDef>
  </a:objectDefaults>
  <a:extraClrSchemeLst/>
  <a:custClrLst>
    <a:custClr name="Pink">
      <a:srgbClr val="D1266B"/>
    </a:custClr>
    <a:custClr name="Dark Purple">
      <a:srgbClr val="85254B"/>
    </a:custClr>
    <a:custClr name="Red">
      <a:srgbClr val="F93B18"/>
    </a:custClr>
    <a:custClr name="Purple">
      <a:srgbClr val="9B62C3"/>
    </a:custClr>
    <a:custClr name="Light Yellow">
      <a:srgbClr val="FFFEE5"/>
    </a:custClr>
    <a:custClr name="Light Blue">
      <a:srgbClr val="EBF2F3"/>
    </a:custClr>
    <a:custClr name="Light Green">
      <a:srgbClr val="EDF9F3"/>
    </a:custClr>
    <a:custClr name="Light Red">
      <a:srgbClr val="FEF0EA"/>
    </a:custClr>
    <a:custClr name="Hydro">
      <a:srgbClr val="2DA55D"/>
    </a:custClr>
    <a:custClr name="Wind">
      <a:srgbClr val="4FCC51"/>
    </a:custClr>
    <a:custClr name="Solar">
      <a:srgbClr val="81E0A8"/>
    </a:custClr>
    <a:custClr name="Biomass">
      <a:srgbClr val="375E4E"/>
    </a:custClr>
    <a:custClr name="Coal">
      <a:srgbClr val="E88A74"/>
    </a:custClr>
    <a:custClr name="Gas">
      <a:srgbClr val="D85067"/>
    </a:custClr>
    <a:custClr name="Nuclear">
      <a:srgbClr val="213D5E"/>
    </a:custClr>
    <a:custClr name="District Heating">
      <a:srgbClr val="A376CC"/>
    </a:custClr>
  </a:custClrLst>
  <a:extLst>
    <a:ext uri="{05A4C25C-085E-4340-85A3-A5531E510DB2}">
      <thm15:themeFamily xmlns:thm15="http://schemas.microsoft.com/office/thememl/2012/main" name="Vattenfall_PPT_Template_Eng (mod).potx" id="{2CE8DB2E-BA6D-4E51-8BE6-3E614F025AC2}" vid="{4095ABB1-5107-4D19-AABD-98A335929B3D}"/>
    </a:ext>
  </a:extLst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eaef7f1a-1bec-49cd-aa5c-18311d46784f">KHZHYVWD43FV-352214622-22</_dlc_DocId>
    <_dlc_DocIdUrl xmlns="2cb1ade8-cf31-4a5c-9fe7-2ffbf99a0974">
      <Url>https://vattenfall.sharepoint.com/sites/ProjektGeyserCarveOut/_layouts/15/DocIdRedir.aspx?ID=KHZHYVWD43FV-352214622-22</Url>
      <Description>KHZHYVWD43FV-352214622-22</Description>
    </_dlc_DocIdUrl>
  </documentManagement>
</p:properti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0140B761AFAD04ABC0859DE5F1AAB71" ma:contentTypeVersion="2" ma:contentTypeDescription="Create a new document." ma:contentTypeScope="" ma:versionID="75c09becb92f55860f4fe2f77c6fe222">
  <xsd:schema xmlns:xsd="http://www.w3.org/2001/XMLSchema" xmlns:xs="http://www.w3.org/2001/XMLSchema" xmlns:p="http://schemas.microsoft.com/office/2006/metadata/properties" xmlns:ns2="eaef7f1a-1bec-49cd-aa5c-18311d46784f" xmlns:ns3="2cb1ade8-cf31-4a5c-9fe7-2ffbf99a0974" xmlns:ns4="4218567e-bea8-4f21-b9f9-0bdcd4c371cc" targetNamespace="http://schemas.microsoft.com/office/2006/metadata/properties" ma:root="true" ma:fieldsID="d47ada1daac4ba8c7ae8b09932184ceb" ns2:_="" ns3:_="" ns4:_="">
    <xsd:import namespace="eaef7f1a-1bec-49cd-aa5c-18311d46784f"/>
    <xsd:import namespace="2cb1ade8-cf31-4a5c-9fe7-2ffbf99a0974"/>
    <xsd:import namespace="4218567e-bea8-4f21-b9f9-0bdcd4c371cc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3:_dlc_DocIdUrl" minOccurs="0"/>
                <xsd:element ref="ns2:_dlc_DocIdPersistId" minOccurs="0"/>
                <xsd:element ref="ns4:MediaServiceMetadata" minOccurs="0"/>
                <xsd:element ref="ns4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ef7f1a-1bec-49cd-aa5c-18311d46784f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dexed="true" ma:internalName="_dlc_DocId" ma:readOnly="true">
      <xsd:simpleType>
        <xsd:restriction base="dms:Text"/>
      </xsd:simple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cb1ade8-cf31-4a5c-9fe7-2ffbf99a0974" elementFormDefault="qualified">
    <xsd:import namespace="http://schemas.microsoft.com/office/2006/documentManagement/types"/>
    <xsd:import namespace="http://schemas.microsoft.com/office/infopath/2007/PartnerControls"/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218567e-bea8-4f21-b9f9-0bdcd4c371c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669CD0C-038F-4E2C-BE51-1770C96D722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F8DB5F9-0661-4DF5-BA85-D3C99EC3ABC6}">
  <ds:schemaRefs>
    <ds:schemaRef ds:uri="http://schemas.microsoft.com/sharepoint/events"/>
  </ds:schemaRefs>
</ds:datastoreItem>
</file>

<file path=customXml/itemProps3.xml><?xml version="1.0" encoding="utf-8"?>
<ds:datastoreItem xmlns:ds="http://schemas.openxmlformats.org/officeDocument/2006/customXml" ds:itemID="{405A364F-DF80-4717-89BD-D8C4E6197C5C}">
  <ds:schemaRefs>
    <ds:schemaRef ds:uri="http://schemas.microsoft.com/office/2006/documentManagement/types"/>
    <ds:schemaRef ds:uri="http://www.w3.org/XML/1998/namespace"/>
    <ds:schemaRef ds:uri="2cb1ade8-cf31-4a5c-9fe7-2ffbf99a0974"/>
    <ds:schemaRef ds:uri="http://purl.org/dc/elements/1.1/"/>
    <ds:schemaRef ds:uri="http://schemas.microsoft.com/office/infopath/2007/PartnerControls"/>
    <ds:schemaRef ds:uri="4218567e-bea8-4f21-b9f9-0bdcd4c371cc"/>
    <ds:schemaRef ds:uri="eaef7f1a-1bec-49cd-aa5c-18311d46784f"/>
    <ds:schemaRef ds:uri="http://schemas.openxmlformats.org/package/2006/metadata/core-properties"/>
    <ds:schemaRef ds:uri="http://schemas.microsoft.com/office/2006/metadata/properties"/>
    <ds:schemaRef ds:uri="http://purl.org/dc/dcmitype/"/>
    <ds:schemaRef ds:uri="http://purl.org/dc/terms/"/>
  </ds:schemaRefs>
</ds:datastoreItem>
</file>

<file path=customXml/itemProps4.xml><?xml version="1.0" encoding="utf-8"?>
<ds:datastoreItem xmlns:ds="http://schemas.openxmlformats.org/officeDocument/2006/customXml" ds:itemID="{C41C7891-6AD7-4B52-ADEB-3AD7A18BD74A}">
  <ds:schemaRefs>
    <ds:schemaRef ds:uri="2cb1ade8-cf31-4a5c-9fe7-2ffbf99a0974"/>
    <ds:schemaRef ds:uri="4218567e-bea8-4f21-b9f9-0bdcd4c371cc"/>
    <ds:schemaRef ds:uri="eaef7f1a-1bec-49cd-aa5c-18311d46784f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Metadata/LabelInfo.xml><?xml version="1.0" encoding="utf-8"?>
<clbl:labelList xmlns:clbl="http://schemas.microsoft.com/office/2020/mipLabelMetadata">
  <clbl:label id="{6431d30e-c018-4f72-ad4c-e56e9d03b1f0}" enabled="1" method="Standard" siteId="{f8be18a6-f648-4a47-be73-86d6c5c6604d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Vattenfall_PPT_Template_Eng (mod)</Template>
  <TotalTime>0</TotalTime>
  <Words>1336</Words>
  <Application>Microsoft Office PowerPoint</Application>
  <PresentationFormat>Bildspel på skärmen (16:9)</PresentationFormat>
  <Paragraphs>203</Paragraphs>
  <Slides>11</Slides>
  <Notes>9</Notes>
  <HiddenSlides>0</HiddenSlides>
  <MMClips>0</MMClips>
  <ScaleCrop>false</ScaleCrop>
  <HeadingPairs>
    <vt:vector size="8" baseType="variant">
      <vt:variant>
        <vt:lpstr>Använt teckensnitt</vt:lpstr>
      </vt:variant>
      <vt:variant>
        <vt:i4>2</vt:i4>
      </vt:variant>
      <vt:variant>
        <vt:lpstr>Tema</vt:lpstr>
      </vt:variant>
      <vt:variant>
        <vt:i4>2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11</vt:i4>
      </vt:variant>
    </vt:vector>
  </HeadingPairs>
  <TitlesOfParts>
    <vt:vector size="16" baseType="lpstr">
      <vt:lpstr>Arial</vt:lpstr>
      <vt:lpstr>Calibri</vt:lpstr>
      <vt:lpstr>1_Vattenfall Documentation</vt:lpstr>
      <vt:lpstr>Vattenfall Presentation</vt:lpstr>
      <vt:lpstr>think-cell Folie</vt:lpstr>
      <vt:lpstr>Cost Savings Matrix</vt:lpstr>
      <vt:lpstr>introduction</vt:lpstr>
      <vt:lpstr>Cost saving categories</vt:lpstr>
      <vt:lpstr>Cost saving examples</vt:lpstr>
      <vt:lpstr>Operational cost savings 2026 and beyond OVERVIEW</vt:lpstr>
      <vt:lpstr>DETAILS PER REGION</vt:lpstr>
      <vt:lpstr>Operational cost savings 2026 and beyond SE</vt:lpstr>
      <vt:lpstr>Operational cost savings 2026 and beyond GER</vt:lpstr>
      <vt:lpstr>Operational cost savings 2026 and beyond NL</vt:lpstr>
      <vt:lpstr>Sweden</vt:lpstr>
      <vt:lpstr>PowerPoint-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Cordula Berktold</dc:creator>
  <cp:lastModifiedBy>Lindberg Fanny (SB-C)</cp:lastModifiedBy>
  <cp:revision>6</cp:revision>
  <cp:lastPrinted>2025-08-28T13:54:04Z</cp:lastPrinted>
  <dcterms:created xsi:type="dcterms:W3CDTF">2022-07-06T12:42:16Z</dcterms:created>
  <dcterms:modified xsi:type="dcterms:W3CDTF">2025-09-02T10:46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0140B761AFAD04ABC0859DE5F1AAB71</vt:lpwstr>
  </property>
  <property fmtid="{D5CDD505-2E9C-101B-9397-08002B2CF9AE}" pid="3" name="_dlc_DocIdItemGuid">
    <vt:lpwstr>7731498b-07b5-4d1a-91da-47f174e0525b</vt:lpwstr>
  </property>
  <property fmtid="{D5CDD505-2E9C-101B-9397-08002B2CF9AE}" pid="4" name="MSIP_Label_6431d30e-c018-4f72-ad4c-e56e9d03b1f0_Enabled">
    <vt:lpwstr>true</vt:lpwstr>
  </property>
  <property fmtid="{D5CDD505-2E9C-101B-9397-08002B2CF9AE}" pid="5" name="MSIP_Label_6431d30e-c018-4f72-ad4c-e56e9d03b1f0_SetDate">
    <vt:lpwstr>2023-02-09T16:10:34Z</vt:lpwstr>
  </property>
  <property fmtid="{D5CDD505-2E9C-101B-9397-08002B2CF9AE}" pid="6" name="MSIP_Label_6431d30e-c018-4f72-ad4c-e56e9d03b1f0_Method">
    <vt:lpwstr>Standard</vt:lpwstr>
  </property>
  <property fmtid="{D5CDD505-2E9C-101B-9397-08002B2CF9AE}" pid="7" name="MSIP_Label_6431d30e-c018-4f72-ad4c-e56e9d03b1f0_Name">
    <vt:lpwstr>6431d30e-c018-4f72-ad4c-e56e9d03b1f0</vt:lpwstr>
  </property>
  <property fmtid="{D5CDD505-2E9C-101B-9397-08002B2CF9AE}" pid="8" name="MSIP_Label_6431d30e-c018-4f72-ad4c-e56e9d03b1f0_SiteId">
    <vt:lpwstr>f8be18a6-f648-4a47-be73-86d6c5c6604d</vt:lpwstr>
  </property>
  <property fmtid="{D5CDD505-2E9C-101B-9397-08002B2CF9AE}" pid="9" name="MSIP_Label_6431d30e-c018-4f72-ad4c-e56e9d03b1f0_ActionId">
    <vt:lpwstr>6a93d1fb-d254-472d-a722-0ca70a8ff608</vt:lpwstr>
  </property>
  <property fmtid="{D5CDD505-2E9C-101B-9397-08002B2CF9AE}" pid="10" name="MSIP_Label_6431d30e-c018-4f72-ad4c-e56e9d03b1f0_ContentBits">
    <vt:lpwstr>2</vt:lpwstr>
  </property>
  <property fmtid="{D5CDD505-2E9C-101B-9397-08002B2CF9AE}" pid="11" name="ClassificationContentMarkingFooterLocations">
    <vt:lpwstr>1_Vattenfall Documentation:7\Vattenfall Presentation:9</vt:lpwstr>
  </property>
  <property fmtid="{D5CDD505-2E9C-101B-9397-08002B2CF9AE}" pid="12" name="ClassificationContentMarkingFooterText">
    <vt:lpwstr>Confidentiality: C2 - Internal</vt:lpwstr>
  </property>
</Properties>
</file>